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31" r:id="rId1"/>
    <p:sldMasterId id="2147485153" r:id="rId2"/>
    <p:sldMasterId id="2147485166" r:id="rId3"/>
    <p:sldMasterId id="2147485230" r:id="rId4"/>
    <p:sldMasterId id="2147485243" r:id="rId5"/>
    <p:sldMasterId id="2147485310" r:id="rId6"/>
    <p:sldMasterId id="2147485335" r:id="rId7"/>
    <p:sldMasterId id="2147485425" r:id="rId8"/>
    <p:sldMasterId id="2147485502" r:id="rId9"/>
    <p:sldMasterId id="2147485511" r:id="rId10"/>
    <p:sldMasterId id="2147485537" r:id="rId11"/>
  </p:sldMasterIdLst>
  <p:notesMasterIdLst>
    <p:notesMasterId r:id="rId18"/>
  </p:notesMasterIdLst>
  <p:handoutMasterIdLst>
    <p:handoutMasterId r:id="rId19"/>
  </p:handoutMasterIdLst>
  <p:sldIdLst>
    <p:sldId id="902" r:id="rId12"/>
    <p:sldId id="941" r:id="rId13"/>
    <p:sldId id="948" r:id="rId14"/>
    <p:sldId id="949" r:id="rId15"/>
    <p:sldId id="950" r:id="rId16"/>
    <p:sldId id="951" r:id="rId17"/>
  </p:sldIdLst>
  <p:sldSz cx="9144000" cy="5143500" type="screen16x9"/>
  <p:notesSz cx="6797675" cy="9928225"/>
  <p:defaultTextStyle>
    <a:defPPr>
      <a:defRPr lang="ru-RU"/>
    </a:defPPr>
    <a:lvl1pPr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344488" indent="112713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690563" indent="-3175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035050" indent="-4763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381125" indent="-6350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на Мамбаева" initials="ДМ" lastIdx="0" clrIdx="0">
    <p:extLst>
      <p:ext uri="{19B8F6BF-5375-455C-9EA6-DF929625EA0E}">
        <p15:presenceInfo xmlns:p15="http://schemas.microsoft.com/office/powerpoint/2012/main" userId="Дана Мамбаев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3ED"/>
    <a:srgbClr val="432DA3"/>
    <a:srgbClr val="FBDD76"/>
    <a:srgbClr val="5B9BD5"/>
    <a:srgbClr val="FDF6F1"/>
    <a:srgbClr val="FF9B15"/>
    <a:srgbClr val="1C9EA4"/>
    <a:srgbClr val="787878"/>
    <a:srgbClr val="57C7B2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86" autoAdjust="0"/>
    <p:restoredTop sz="96357" autoAdjust="0"/>
  </p:normalViewPr>
  <p:slideViewPr>
    <p:cSldViewPr snapToGrid="0">
      <p:cViewPr varScale="1">
        <p:scale>
          <a:sx n="152" d="100"/>
          <a:sy n="152" d="100"/>
        </p:scale>
        <p:origin x="492" y="12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994" y="-108"/>
      </p:cViewPr>
      <p:guideLst>
        <p:guide orient="horz" pos="3110"/>
        <p:guide pos="2142"/>
        <p:guide orient="horz"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3"/>
            <a:ext cx="2946400" cy="498475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 defTabSz="91926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3"/>
            <a:ext cx="2946400" cy="498475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 defTabSz="91926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A97753B-154F-4572-A184-599776B889BD}" type="datetimeFigureOut">
              <a:rPr lang="ru-RU"/>
              <a:pPr>
                <a:defRPr/>
              </a:pPr>
              <a:t>08.09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6" y="9429770"/>
            <a:ext cx="2946400" cy="498475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 defTabSz="91926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9770"/>
            <a:ext cx="2946400" cy="498475"/>
          </a:xfrm>
          <a:prstGeom prst="rect">
            <a:avLst/>
          </a:prstGeom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9062" eaLnBrk="1" hangingPunct="1">
              <a:defRPr sz="1200"/>
            </a:lvl1pPr>
          </a:lstStyle>
          <a:p>
            <a:fld id="{1444BD2D-FB8D-4895-9A00-48AFEB1E68B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240350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3"/>
            <a:ext cx="2946400" cy="498475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 defTabSz="91926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9" y="23"/>
            <a:ext cx="2946400" cy="498475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 defTabSz="91926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C12A53E-B23F-4C10-A309-B4BC8F422063}" type="datetimeFigureOut">
              <a:rPr lang="ru-RU"/>
              <a:pPr>
                <a:defRPr/>
              </a:pPr>
              <a:t>08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0" tIns="45855" rIns="91710" bIns="4585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75" y="4776808"/>
            <a:ext cx="5438775" cy="3911599"/>
          </a:xfrm>
          <a:prstGeom prst="rect">
            <a:avLst/>
          </a:prstGeom>
        </p:spPr>
        <p:txBody>
          <a:bodyPr vert="horz" lIns="91710" tIns="45855" rIns="91710" bIns="45855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6" y="9429770"/>
            <a:ext cx="2946400" cy="498475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 defTabSz="91926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9" y="9429770"/>
            <a:ext cx="2946400" cy="498475"/>
          </a:xfrm>
          <a:prstGeom prst="rect">
            <a:avLst/>
          </a:prstGeom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9062" eaLnBrk="1" hangingPunct="1">
              <a:defRPr sz="1200"/>
            </a:lvl1pPr>
          </a:lstStyle>
          <a:p>
            <a:fld id="{2D94C3BD-0C2C-438A-AE15-108F7E31D78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983791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488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50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1125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818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6pPr>
    <a:lvl7pPr marL="2073815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7pPr>
    <a:lvl8pPr marL="241945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8pPr>
    <a:lvl9pPr marL="2765086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94C3BD-0C2C-438A-AE15-108F7E31D786}" type="slidenum">
              <a:rPr lang="ru-RU" altLang="ru-RU" smtClean="0">
                <a:solidFill>
                  <a:prstClr val="black"/>
                </a:solidFill>
              </a:rPr>
              <a:pPr/>
              <a:t>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216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94C3BD-0C2C-438A-AE15-108F7E31D786}" type="slidenum">
              <a:rPr lang="ru-RU" altLang="ru-RU" smtClean="0">
                <a:solidFill>
                  <a:prstClr val="black"/>
                </a:solidFill>
              </a:rPr>
              <a:pPr/>
              <a:t>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304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1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NUL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6" Type="http://schemas.openxmlformats.org/officeDocument/2006/relationships/image" Target="NULL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1186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070707"/>
      </p:ext>
    </p:extLst>
  </p:cSld>
  <p:clrMapOvr>
    <a:masterClrMapping/>
  </p:clrMapOvr>
  <p:transition spd="slow">
    <p:push dir="u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hangingPunct="1"/>
            <a:fld id="{8930C112-013A-4BCE-B384-B3C28B449AB0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533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41430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eaLnBrk="1" hangingPunct="1">
              <a:defRPr/>
            </a:pPr>
            <a:fld id="{6A93956F-647A-44B9-8163-DDB447652883}" type="slidenum">
              <a:rPr lang="ru-RU" altLang="ru-RU" sz="800" smtClean="0">
                <a:solidFill>
                  <a:prstClr val="black"/>
                </a:solidFill>
                <a:latin typeface="Arial" panose="020B0604020202020204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563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420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1391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 eaLnBrk="1" hangingPunct="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48675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513604"/>
      </p:ext>
    </p:extLst>
  </p:cSld>
  <p:clrMapOvr>
    <a:masterClrMapping/>
  </p:clrMapOvr>
  <p:transition spd="slow">
    <p:push dir="u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6241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02517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99527" y="500062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543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B2A65A1-2B96-40B7-BDF6-2CD69FAB66B8}" type="datetime1">
              <a:rPr lang="ru-RU" smtClean="0"/>
              <a:pPr/>
              <a:t>08.09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22720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688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95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5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702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8601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951D4-4221-4520-A8A0-03BAB9FCF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842926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40BCF15-E6C8-43DF-AC8E-F15436FDB373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9167248" cy="5143500"/>
          </a:xfrm>
          <a:prstGeom prst="rect">
            <a:avLst/>
          </a:prstGeom>
          <a:solidFill>
            <a:schemeClr val="accent3">
              <a:lumMod val="75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504482-B9E3-46E5-9307-32B0FEBE120C}"/>
              </a:ext>
            </a:extLst>
          </p:cNvPr>
          <p:cNvSpPr>
            <a:spLocks/>
          </p:cNvSpPr>
          <p:nvPr userDrawn="1"/>
        </p:nvSpPr>
        <p:spPr>
          <a:xfrm>
            <a:off x="2804548" y="0"/>
            <a:ext cx="6362700" cy="5143500"/>
          </a:xfrm>
          <a:prstGeom prst="rect">
            <a:avLst/>
          </a:prstGeom>
          <a:solidFill>
            <a:schemeClr val="accent3">
              <a:lumMod val="75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807160" y="464820"/>
            <a:ext cx="4568297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4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Тип документа | Дата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C5FE982-24AC-46AB-B662-CE4E0D4D885F}"/>
              </a:ext>
            </a:extLst>
          </p:cNvPr>
          <p:cNvGrpSpPr/>
          <p:nvPr userDrawn="1"/>
        </p:nvGrpSpPr>
        <p:grpSpPr>
          <a:xfrm>
            <a:off x="2600466" y="0"/>
            <a:ext cx="438150" cy="5143500"/>
            <a:chOff x="2600466" y="-92848"/>
            <a:chExt cx="438150" cy="51435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6DECDE6-35C3-4FDB-87BC-AF26C850AE35}"/>
                </a:ext>
              </a:extLst>
            </p:cNvPr>
            <p:cNvSpPr/>
            <p:nvPr userDrawn="1"/>
          </p:nvSpPr>
          <p:spPr>
            <a:xfrm>
              <a:off x="2600466" y="-92848"/>
              <a:ext cx="438150" cy="5143500"/>
            </a:xfrm>
            <a:prstGeom prst="rect">
              <a:avLst/>
            </a:pr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8100000" scaled="1"/>
              <a:tileRect/>
            </a:gra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D5212CA-AA69-41C8-9529-D0F338B3F336}"/>
                </a:ext>
              </a:extLst>
            </p:cNvPr>
            <p:cNvGrpSpPr/>
            <p:nvPr userDrawn="1"/>
          </p:nvGrpSpPr>
          <p:grpSpPr>
            <a:xfrm flipH="1">
              <a:off x="2668262" y="-92848"/>
              <a:ext cx="302559" cy="5143500"/>
              <a:chOff x="2798391" y="-1764818"/>
              <a:chExt cx="251568" cy="4276656"/>
            </a:xfrm>
          </p:grpSpPr>
          <p:sp>
            <p:nvSpPr>
              <p:cNvPr id="289" name="Graphic 1">
                <a:extLst>
                  <a:ext uri="{FF2B5EF4-FFF2-40B4-BE49-F238E27FC236}">
                    <a16:creationId xmlns:a16="http://schemas.microsoft.com/office/drawing/2014/main" id="{D95CB84A-A9FF-49A1-BA6B-44CA2895DD34}"/>
                  </a:ext>
                </a:extLst>
              </p:cNvPr>
              <p:cNvSpPr/>
              <p:nvPr userDrawn="1"/>
            </p:nvSpPr>
            <p:spPr>
              <a:xfrm>
                <a:off x="2798391" y="226027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2" name="Graphic 1">
                <a:extLst>
                  <a:ext uri="{FF2B5EF4-FFF2-40B4-BE49-F238E27FC236}">
                    <a16:creationId xmlns:a16="http://schemas.microsoft.com/office/drawing/2014/main" id="{6B666A9A-D58D-4F1A-8A65-E494706C692C}"/>
                  </a:ext>
                </a:extLst>
              </p:cNvPr>
              <p:cNvSpPr/>
              <p:nvPr userDrawn="1"/>
            </p:nvSpPr>
            <p:spPr>
              <a:xfrm>
                <a:off x="2798391" y="200870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3" name="Graphic 1">
                <a:extLst>
                  <a:ext uri="{FF2B5EF4-FFF2-40B4-BE49-F238E27FC236}">
                    <a16:creationId xmlns:a16="http://schemas.microsoft.com/office/drawing/2014/main" id="{E19C24C8-FDC1-4760-8A0B-AB164144AFD4}"/>
                  </a:ext>
                </a:extLst>
              </p:cNvPr>
              <p:cNvSpPr/>
              <p:nvPr userDrawn="1"/>
            </p:nvSpPr>
            <p:spPr>
              <a:xfrm>
                <a:off x="2798391" y="175713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4" name="Graphic 1">
                <a:extLst>
                  <a:ext uri="{FF2B5EF4-FFF2-40B4-BE49-F238E27FC236}">
                    <a16:creationId xmlns:a16="http://schemas.microsoft.com/office/drawing/2014/main" id="{B8C6CE6A-184C-492F-89D6-34F137AB863A}"/>
                  </a:ext>
                </a:extLst>
              </p:cNvPr>
              <p:cNvSpPr/>
              <p:nvPr userDrawn="1"/>
            </p:nvSpPr>
            <p:spPr>
              <a:xfrm>
                <a:off x="2798391" y="150556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5" name="Graphic 1">
                <a:extLst>
                  <a:ext uri="{FF2B5EF4-FFF2-40B4-BE49-F238E27FC236}">
                    <a16:creationId xmlns:a16="http://schemas.microsoft.com/office/drawing/2014/main" id="{8AC01F60-9300-4E4F-B5A9-3B5970B2ED3F}"/>
                  </a:ext>
                </a:extLst>
              </p:cNvPr>
              <p:cNvSpPr/>
              <p:nvPr userDrawn="1"/>
            </p:nvSpPr>
            <p:spPr>
              <a:xfrm>
                <a:off x="2798391" y="125399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6" name="Graphic 1">
                <a:extLst>
                  <a:ext uri="{FF2B5EF4-FFF2-40B4-BE49-F238E27FC236}">
                    <a16:creationId xmlns:a16="http://schemas.microsoft.com/office/drawing/2014/main" id="{C5FB2727-788A-48D5-9F2C-85813C258BF4}"/>
                  </a:ext>
                </a:extLst>
              </p:cNvPr>
              <p:cNvSpPr/>
              <p:nvPr userDrawn="1"/>
            </p:nvSpPr>
            <p:spPr>
              <a:xfrm>
                <a:off x="2798391" y="100243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7" name="Graphic 1">
                <a:extLst>
                  <a:ext uri="{FF2B5EF4-FFF2-40B4-BE49-F238E27FC236}">
                    <a16:creationId xmlns:a16="http://schemas.microsoft.com/office/drawing/2014/main" id="{5E0FA2EB-F9FC-4E78-B34A-63146327F1AE}"/>
                  </a:ext>
                </a:extLst>
              </p:cNvPr>
              <p:cNvSpPr/>
              <p:nvPr userDrawn="1"/>
            </p:nvSpPr>
            <p:spPr>
              <a:xfrm>
                <a:off x="2798391" y="75086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8" name="Graphic 1">
                <a:extLst>
                  <a:ext uri="{FF2B5EF4-FFF2-40B4-BE49-F238E27FC236}">
                    <a16:creationId xmlns:a16="http://schemas.microsoft.com/office/drawing/2014/main" id="{F7BDA1C1-8A0F-4DCE-8DC5-3E3A79FE0180}"/>
                  </a:ext>
                </a:extLst>
              </p:cNvPr>
              <p:cNvSpPr/>
              <p:nvPr userDrawn="1"/>
            </p:nvSpPr>
            <p:spPr>
              <a:xfrm>
                <a:off x="2798391" y="49929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9" name="Graphic 1">
                <a:extLst>
                  <a:ext uri="{FF2B5EF4-FFF2-40B4-BE49-F238E27FC236}">
                    <a16:creationId xmlns:a16="http://schemas.microsoft.com/office/drawing/2014/main" id="{C387F47A-663D-4BB4-9DBC-E05AD9E7AF38}"/>
                  </a:ext>
                </a:extLst>
              </p:cNvPr>
              <p:cNvSpPr/>
              <p:nvPr userDrawn="1"/>
            </p:nvSpPr>
            <p:spPr>
              <a:xfrm>
                <a:off x="2798391" y="24772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0" name="Graphic 1">
                <a:extLst>
                  <a:ext uri="{FF2B5EF4-FFF2-40B4-BE49-F238E27FC236}">
                    <a16:creationId xmlns:a16="http://schemas.microsoft.com/office/drawing/2014/main" id="{02948443-6A08-431A-82E8-3D1BE5C3346B}"/>
                  </a:ext>
                </a:extLst>
              </p:cNvPr>
              <p:cNvSpPr/>
              <p:nvPr userDrawn="1"/>
            </p:nvSpPr>
            <p:spPr>
              <a:xfrm>
                <a:off x="2798391" y="-384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1" name="Graphic 1">
                <a:extLst>
                  <a:ext uri="{FF2B5EF4-FFF2-40B4-BE49-F238E27FC236}">
                    <a16:creationId xmlns:a16="http://schemas.microsoft.com/office/drawing/2014/main" id="{3CB11B78-CA76-48EB-ABC8-0DE5BD56FC7F}"/>
                  </a:ext>
                </a:extLst>
              </p:cNvPr>
              <p:cNvSpPr/>
              <p:nvPr userDrawn="1"/>
            </p:nvSpPr>
            <p:spPr>
              <a:xfrm>
                <a:off x="2798391" y="-25541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2" name="Graphic 1">
                <a:extLst>
                  <a:ext uri="{FF2B5EF4-FFF2-40B4-BE49-F238E27FC236}">
                    <a16:creationId xmlns:a16="http://schemas.microsoft.com/office/drawing/2014/main" id="{A2741F3B-DB3F-457C-8CE2-2C0124C54A79}"/>
                  </a:ext>
                </a:extLst>
              </p:cNvPr>
              <p:cNvSpPr/>
              <p:nvPr userDrawn="1"/>
            </p:nvSpPr>
            <p:spPr>
              <a:xfrm>
                <a:off x="2798391" y="-50697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3" name="Graphic 1">
                <a:extLst>
                  <a:ext uri="{FF2B5EF4-FFF2-40B4-BE49-F238E27FC236}">
                    <a16:creationId xmlns:a16="http://schemas.microsoft.com/office/drawing/2014/main" id="{BA67692C-3DB8-4C6F-9FB7-681652D334F8}"/>
                  </a:ext>
                </a:extLst>
              </p:cNvPr>
              <p:cNvSpPr/>
              <p:nvPr userDrawn="1"/>
            </p:nvSpPr>
            <p:spPr>
              <a:xfrm>
                <a:off x="2798391" y="-75854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4" name="Graphic 1">
                <a:extLst>
                  <a:ext uri="{FF2B5EF4-FFF2-40B4-BE49-F238E27FC236}">
                    <a16:creationId xmlns:a16="http://schemas.microsoft.com/office/drawing/2014/main" id="{7BC8E877-7264-43CD-9316-ED5ECE0BB3B7}"/>
                  </a:ext>
                </a:extLst>
              </p:cNvPr>
              <p:cNvSpPr/>
              <p:nvPr userDrawn="1"/>
            </p:nvSpPr>
            <p:spPr>
              <a:xfrm>
                <a:off x="2798391" y="-101011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5" name="Graphic 1">
                <a:extLst>
                  <a:ext uri="{FF2B5EF4-FFF2-40B4-BE49-F238E27FC236}">
                    <a16:creationId xmlns:a16="http://schemas.microsoft.com/office/drawing/2014/main" id="{7B71A4FD-1DA8-4B61-9110-63F65F0D76DC}"/>
                  </a:ext>
                </a:extLst>
              </p:cNvPr>
              <p:cNvSpPr/>
              <p:nvPr userDrawn="1"/>
            </p:nvSpPr>
            <p:spPr>
              <a:xfrm>
                <a:off x="2798391" y="-126168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6" name="Graphic 1">
                <a:extLst>
                  <a:ext uri="{FF2B5EF4-FFF2-40B4-BE49-F238E27FC236}">
                    <a16:creationId xmlns:a16="http://schemas.microsoft.com/office/drawing/2014/main" id="{D54B173E-F7DF-4E52-9391-587A7B7C8B7D}"/>
                  </a:ext>
                </a:extLst>
              </p:cNvPr>
              <p:cNvSpPr/>
              <p:nvPr userDrawn="1"/>
            </p:nvSpPr>
            <p:spPr>
              <a:xfrm>
                <a:off x="2798391" y="-151325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7" name="Graphic 1">
                <a:extLst>
                  <a:ext uri="{FF2B5EF4-FFF2-40B4-BE49-F238E27FC236}">
                    <a16:creationId xmlns:a16="http://schemas.microsoft.com/office/drawing/2014/main" id="{B9C00394-AC68-46A9-9164-F6ECE887BC4F}"/>
                  </a:ext>
                </a:extLst>
              </p:cNvPr>
              <p:cNvSpPr/>
              <p:nvPr userDrawn="1"/>
            </p:nvSpPr>
            <p:spPr>
              <a:xfrm>
                <a:off x="2798391" y="-176481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971132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ＭＳ Ｐゴシック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N.A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F94D082-04BC-4A0F-A51E-90752B2C700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6531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ＭＳ Ｐゴシック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929878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16052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8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16052" y="129159"/>
            <a:ext cx="3799332" cy="54864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16052" y="663544"/>
            <a:ext cx="37993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BAFC32F7-2CC8-4EE1-9D55-99C30BE5BD8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6486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600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7C772-5CA6-4F1C-889D-6BE1028A9085}" type="datetime1">
              <a:rPr lang="en-US"/>
              <a:pPr>
                <a:defRPr/>
              </a:pPr>
              <a:t>9/8/2021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866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fontAlgn="base">
              <a:spcBef>
                <a:spcPct val="0"/>
              </a:spcBef>
              <a:spcAft>
                <a:spcPct val="0"/>
              </a:spcAft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3729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2236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0382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ctr" defTabSz="911225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Министерство национальной экономики</a:t>
            </a:r>
          </a:p>
          <a:p>
            <a:pPr marL="0" marR="0" lvl="0" indent="0" algn="ctr" defTabSz="911225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4092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66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9977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F6FAAD-B68C-4C14-A12C-64AE1811CFA5}" type="slidenum">
              <a:rPr kumimoji="0" lang="ru-RU" altLang="ru-RU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477D2E-F049-4A41-98F7-194A3846BC2B}" type="datetime1">
              <a:rPr kumimoji="0" lang="ru-RU" sz="6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9.2021</a:t>
            </a:fld>
            <a:endParaRPr kumimoji="0" lang="ru-RU" sz="6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820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470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911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4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9240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911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ложение</a:t>
            </a:r>
            <a:endParaRPr kumimoji="0" lang="ru-RU" sz="28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5139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12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3200" b="1" i="0" u="none" strike="noStrike" kern="1200" cap="small" spc="0" normalizeH="0" baseline="0" noProof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годарю за внимание</a:t>
            </a:r>
            <a:r>
              <a:rPr kumimoji="0" lang="kk-KZ" sz="3200" b="1" i="0" u="none" strike="noStrike" kern="1200" cap="small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ru-RU" sz="3200" b="1" i="0" u="none" strike="noStrike" kern="1200" cap="small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238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12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3200" b="1" i="0" u="none" strike="noStrike" kern="1200" cap="small" spc="0" normalizeH="0" baseline="0" noProof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  <a:r>
              <a:rPr kumimoji="0" lang="kk-KZ" sz="3200" b="1" i="0" u="none" strike="noStrike" kern="1200" cap="small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ru-RU" sz="3200" b="1" i="0" u="none" strike="noStrike" kern="1200" cap="small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656866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B2A65A1-2B96-40B7-BDF6-2CD69FAB66B8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l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8.09.2021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E72439-4BCB-4AC5-8EF3-AC0E70F1BA2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l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60419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5819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35406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1355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89488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784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7559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6700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357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5615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6889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5533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57263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2A65A1-2B96-40B7-BDF6-2CD69FAB66B8}" type="datetime1">
              <a:rPr lang="ru-RU" smtClean="0">
                <a:solidFill>
                  <a:prstClr val="black"/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2774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17287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223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186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5302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495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7891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679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3973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6460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064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303286"/>
      </p:ext>
    </p:extLst>
  </p:cSld>
  <p:clrMapOvr>
    <a:masterClrMapping/>
  </p:clrMapOvr>
  <p:transition spd="slow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B2A65A1-2B96-40B7-BDF6-2CD69FAB66B8}" type="datetime1">
              <a:rPr lang="ru-RU" smtClean="0">
                <a:solidFill>
                  <a:prstClr val="black"/>
                </a:solidFill>
              </a:rPr>
              <a:pPr/>
              <a:t>08.09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8285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79071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621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53012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6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082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941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8448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1611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8806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336977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2A65A1-2B96-40B7-BDF6-2CD69FAB66B8}" type="datetime1">
              <a:rPr lang="ru-RU" smtClean="0">
                <a:solidFill>
                  <a:prstClr val="black"/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7792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ADF9E6D-200F-42D9-B9A8-8BD98B9ADF76}" type="datetimeFigureOut">
              <a:rPr lang="ru-RU" smtClean="0">
                <a:solidFill>
                  <a:prstClr val="black"/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9487A5B-0A00-40CD-8CA7-A719EBD9830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936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/>
              <a:pPr>
                <a:defRPr/>
              </a:pPr>
              <a:t>08.09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99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64689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44202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693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540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780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8772B0F-72FC-4B76-8BAF-928EBA49A2F2}" type="datetime1">
              <a:rPr lang="ru-RU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kk-KZ" dirty="0">
                <a:solidFill>
                  <a:prstClr val="white">
                    <a:lumMod val="65000"/>
                  </a:prstClr>
                </a:solidFill>
              </a:rPr>
              <a:t>Итоги СЭР за январь-август 2017 года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689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1657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7820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987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2400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2400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8738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917851"/>
      </p:ext>
    </p:extLst>
  </p:cSld>
  <p:clrMapOvr>
    <a:masterClrMapping/>
  </p:clrMapOvr>
  <p:transition spd="slow">
    <p:push dir="u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86473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7303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08884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205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760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281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3208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0948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978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3707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653463"/>
      </p:ext>
    </p:extLst>
  </p:cSld>
  <p:clrMapOvr>
    <a:masterClrMapping/>
  </p:clrMapOvr>
  <p:transition spd="slow">
    <p:push dir="u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811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B2A65A1-2B96-40B7-BDF6-2CD69FAB66B8}" type="datetime1">
              <a:rPr lang="ru-RU" smtClean="0">
                <a:solidFill>
                  <a:prstClr val="black"/>
                </a:solidFill>
              </a:rPr>
              <a:pPr/>
              <a:t>08.09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4573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55622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1500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12064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535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8091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1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199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321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096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3397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747441"/>
      </p:ext>
    </p:extLst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2A65A1-2B96-40B7-BDF6-2CD69FAB66B8}" type="datetime1">
              <a:rPr lang="ru-RU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08.09.2021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67015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D34D205E-C104-4C7C-93B9-0C3ED5916C39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313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ижняя лин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BAF94AE3-4071-49B2-A727-C5A91F166D72}" type="slidenum">
              <a:rPr lang="ru-RU" altLang="ru-RU" sz="800" b="1" smtClean="0">
                <a:solidFill>
                  <a:srgbClr val="FFFFF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765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лин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410184DD-32D9-48F4-AA30-83C0F07D8F61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FFED133A-9BD5-4472-B7C6-BC57D9156C63}"/>
              </a:ext>
            </a:extLst>
          </p:cNvPr>
          <p:cNvCxnSpPr/>
          <p:nvPr userDrawn="1"/>
        </p:nvCxnSpPr>
        <p:spPr>
          <a:xfrm>
            <a:off x="0" y="428625"/>
            <a:ext cx="9144000" cy="0"/>
          </a:xfrm>
          <a:prstGeom prst="line">
            <a:avLst/>
          </a:prstGeom>
          <a:ln w="158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714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821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815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12700"/>
            <a:ext cx="91440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383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955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527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99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МНЭ РК </a:t>
            </a:r>
            <a:r>
              <a:rPr lang="en-US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| </a:t>
            </a:r>
            <a:r>
              <a:rPr lang="ru-RU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ОТЧЕТНАЯ ВСТРЕЧА МИНИСТРА С НАСЕЛЕНИЕМ</a:t>
            </a: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91575" y="4975225"/>
            <a:ext cx="3587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fld id="{8148F6DD-1534-47C7-962B-2FD2EF3BBCF9}" type="slidenum">
              <a:rPr lang="ru-RU" altLang="ru-RU" sz="6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r"/>
              <a:t>‹#›</a:t>
            </a:fld>
            <a:endParaRPr lang="ru-RU" altLang="ru-RU" sz="6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231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9" Type="http://schemas.openxmlformats.org/officeDocument/2006/relationships/tags" Target="../tags/tag30.xml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42" Type="http://schemas.openxmlformats.org/officeDocument/2006/relationships/tags" Target="../tags/tag33.xml"/><Relationship Id="rId47" Type="http://schemas.openxmlformats.org/officeDocument/2006/relationships/tags" Target="../tags/tag38.xml"/><Relationship Id="rId50" Type="http://schemas.openxmlformats.org/officeDocument/2006/relationships/tags" Target="../tags/tag41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tags" Target="../tags/tag7.xml"/><Relationship Id="rId29" Type="http://schemas.openxmlformats.org/officeDocument/2006/relationships/tags" Target="../tags/tag20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tags" Target="../tags/tag28.xml"/><Relationship Id="rId40" Type="http://schemas.openxmlformats.org/officeDocument/2006/relationships/tags" Target="../tags/tag31.xml"/><Relationship Id="rId45" Type="http://schemas.openxmlformats.org/officeDocument/2006/relationships/tags" Target="../tags/tag3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16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4" Type="http://schemas.openxmlformats.org/officeDocument/2006/relationships/tags" Target="../tags/tag35.xml"/><Relationship Id="rId52" Type="http://schemas.openxmlformats.org/officeDocument/2006/relationships/tags" Target="../tags/tag43.xml"/><Relationship Id="rId4" Type="http://schemas.openxmlformats.org/officeDocument/2006/relationships/slideLayout" Target="../slideLayouts/slideLayout115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43" Type="http://schemas.openxmlformats.org/officeDocument/2006/relationships/tags" Target="../tags/tag34.xml"/><Relationship Id="rId48" Type="http://schemas.openxmlformats.org/officeDocument/2006/relationships/tags" Target="../tags/tag39.xml"/><Relationship Id="rId8" Type="http://schemas.openxmlformats.org/officeDocument/2006/relationships/theme" Target="../theme/theme11.xml"/><Relationship Id="rId51" Type="http://schemas.openxmlformats.org/officeDocument/2006/relationships/tags" Target="../tags/tag42.xml"/><Relationship Id="rId3" Type="http://schemas.openxmlformats.org/officeDocument/2006/relationships/slideLayout" Target="../slideLayouts/slideLayout114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tags" Target="../tags/tag29.xml"/><Relationship Id="rId46" Type="http://schemas.openxmlformats.org/officeDocument/2006/relationships/tags" Target="../tags/tag37.xml"/><Relationship Id="rId20" Type="http://schemas.openxmlformats.org/officeDocument/2006/relationships/tags" Target="../tags/tag11.xml"/><Relationship Id="rId41" Type="http://schemas.openxmlformats.org/officeDocument/2006/relationships/tags" Target="../tags/tag32.xml"/><Relationship Id="rId54" Type="http://schemas.openxmlformats.org/officeDocument/2006/relationships/image" Target="NUL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49" Type="http://schemas.openxmlformats.org/officeDocument/2006/relationships/tags" Target="../tags/tag4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45" r:id="rId1"/>
    <p:sldLayoutId id="2147485150" r:id="rId2"/>
    <p:sldLayoutId id="2147485148" r:id="rId3"/>
    <p:sldLayoutId id="2147485107" r:id="rId4"/>
    <p:sldLayoutId id="2147485149" r:id="rId5"/>
    <p:sldLayoutId id="2147485102" r:id="rId6"/>
    <p:sldLayoutId id="2147485106" r:id="rId7"/>
    <p:sldLayoutId id="2147485111" r:id="rId8"/>
    <p:sldLayoutId id="2147485103" r:id="rId9"/>
    <p:sldLayoutId id="2147485142" r:id="rId10"/>
    <p:sldLayoutId id="2147485152" r:id="rId11"/>
    <p:sldLayoutId id="2147485546" r:id="rId12"/>
    <p:sldLayoutId id="2147485547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6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2" r:id="rId1"/>
    <p:sldLayoutId id="2147485513" r:id="rId2"/>
    <p:sldLayoutId id="2147485514" r:id="rId3"/>
    <p:sldLayoutId id="2147485515" r:id="rId4"/>
    <p:sldLayoutId id="2147485516" r:id="rId5"/>
    <p:sldLayoutId id="2147485517" r:id="rId6"/>
    <p:sldLayoutId id="2147485518" r:id="rId7"/>
    <p:sldLayoutId id="2147485519" r:id="rId8"/>
    <p:sldLayoutId id="2147485521" r:id="rId9"/>
    <p:sldLayoutId id="2147485522" r:id="rId10"/>
    <p:sldLayoutId id="2147485523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Subtitle</a:t>
            </a: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marR="0" lvl="0" indent="-466466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82258" algn="l"/>
              </a:tabLst>
              <a:defRPr/>
            </a:pPr>
            <a:r>
              <a:rPr kumimoji="0" lang="ru-RU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24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2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2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94" name="Slide Number">
            <a:extLst>
              <a:ext uri="{FF2B5EF4-FFF2-40B4-BE49-F238E27FC236}">
                <a16:creationId xmlns:a16="http://schemas.microsoft.com/office/drawing/2014/main" id="{5ACF2D16-0816-4476-AF9D-E91FA22184C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40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8" r:id="rId1"/>
    <p:sldLayoutId id="2147485540" r:id="rId2"/>
    <p:sldLayoutId id="2147485541" r:id="rId3"/>
    <p:sldLayoutId id="2147485542" r:id="rId4"/>
    <p:sldLayoutId id="2147485543" r:id="rId5"/>
    <p:sldLayoutId id="2147485544" r:id="rId6"/>
    <p:sldLayoutId id="2147485545" r:id="rId7"/>
  </p:sldLayoutIdLst>
  <p:hf hdr="0" ft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777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  <p:sldLayoutId id="2147485476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4155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7" r:id="rId1"/>
    <p:sldLayoutId id="2147485168" r:id="rId2"/>
    <p:sldLayoutId id="2147485169" r:id="rId3"/>
    <p:sldLayoutId id="2147485170" r:id="rId4"/>
    <p:sldLayoutId id="2147485171" r:id="rId5"/>
    <p:sldLayoutId id="2147485172" r:id="rId6"/>
    <p:sldLayoutId id="2147485173" r:id="rId7"/>
    <p:sldLayoutId id="2147485174" r:id="rId8"/>
    <p:sldLayoutId id="2147485175" r:id="rId9"/>
    <p:sldLayoutId id="2147485176" r:id="rId10"/>
    <p:sldLayoutId id="2147485177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2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  <p:sldLayoutId id="2147485242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592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  <p:sldLayoutId id="2147485245" r:id="rId2"/>
    <p:sldLayoutId id="2147485246" r:id="rId3"/>
    <p:sldLayoutId id="2147485247" r:id="rId4"/>
    <p:sldLayoutId id="2147485248" r:id="rId5"/>
    <p:sldLayoutId id="2147485249" r:id="rId6"/>
    <p:sldLayoutId id="2147485250" r:id="rId7"/>
    <p:sldLayoutId id="2147485251" r:id="rId8"/>
    <p:sldLayoutId id="2147485252" r:id="rId9"/>
    <p:sldLayoutId id="2147485253" r:id="rId10"/>
    <p:sldLayoutId id="2147485254" r:id="rId11"/>
    <p:sldLayoutId id="2147485256" r:id="rId12"/>
    <p:sldLayoutId id="2147485257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72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1" r:id="rId1"/>
    <p:sldLayoutId id="2147485312" r:id="rId2"/>
    <p:sldLayoutId id="2147485314" r:id="rId3"/>
    <p:sldLayoutId id="2147485315" r:id="rId4"/>
    <p:sldLayoutId id="2147485316" r:id="rId5"/>
    <p:sldLayoutId id="2147485317" r:id="rId6"/>
    <p:sldLayoutId id="2147485318" r:id="rId7"/>
    <p:sldLayoutId id="2147485319" r:id="rId8"/>
    <p:sldLayoutId id="2147485320" r:id="rId9"/>
    <p:sldLayoutId id="2147485321" r:id="rId10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281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  <p:sldLayoutId id="2147485340" r:id="rId5"/>
    <p:sldLayoutId id="2147485341" r:id="rId6"/>
    <p:sldLayoutId id="2147485342" r:id="rId7"/>
    <p:sldLayoutId id="2147485343" r:id="rId8"/>
    <p:sldLayoutId id="2147485344" r:id="rId9"/>
    <p:sldLayoutId id="2147485345" r:id="rId10"/>
    <p:sldLayoutId id="2147485346" r:id="rId11"/>
    <p:sldLayoutId id="2147485347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494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6" r:id="rId1"/>
    <p:sldLayoutId id="2147485427" r:id="rId2"/>
    <p:sldLayoutId id="2147485428" r:id="rId3"/>
    <p:sldLayoutId id="2147485429" r:id="rId4"/>
    <p:sldLayoutId id="2147485430" r:id="rId5"/>
    <p:sldLayoutId id="2147485431" r:id="rId6"/>
    <p:sldLayoutId id="2147485432" r:id="rId7"/>
    <p:sldLayoutId id="2147485433" r:id="rId8"/>
    <p:sldLayoutId id="2147485434" r:id="rId9"/>
    <p:sldLayoutId id="2147485435" r:id="rId10"/>
    <p:sldLayoutId id="2147485436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04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3697" y="0"/>
            <a:ext cx="9147697" cy="363734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00" name="TextBox 4">
            <a:extLst>
              <a:ext uri="{FF2B5EF4-FFF2-40B4-BE49-F238E27FC236}">
                <a16:creationId xmlns:a16="http://schemas.microsoft.com/office/drawing/2014/main" id="{F2E35004-21C2-453D-93BC-139518D5F0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0320" y="3756380"/>
            <a:ext cx="7320517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ru-RU" altLang="ru-RU" sz="2000" b="1" dirty="0">
                <a:solidFill>
                  <a:srgbClr val="194B75"/>
                </a:solidFill>
                <a:latin typeface="Lato Heavy"/>
              </a:rPr>
              <a:t>202</a:t>
            </a:r>
            <a:r>
              <a:rPr lang="en-US" altLang="ru-RU" sz="2000" b="1" dirty="0">
                <a:solidFill>
                  <a:srgbClr val="194B75"/>
                </a:solidFill>
                <a:latin typeface="Lato Heavy"/>
              </a:rPr>
              <a:t>2</a:t>
            </a:r>
            <a:r>
              <a:rPr lang="kk-KZ" altLang="ru-RU" sz="2000" b="1" dirty="0">
                <a:solidFill>
                  <a:srgbClr val="194B75"/>
                </a:solidFill>
                <a:latin typeface="Lato Heavy"/>
              </a:rPr>
              <a:t>–</a:t>
            </a:r>
            <a:r>
              <a:rPr lang="en-US" altLang="ru-RU" sz="2000" b="1" dirty="0">
                <a:solidFill>
                  <a:srgbClr val="194B75"/>
                </a:solidFill>
                <a:latin typeface="Lato Heavy"/>
              </a:rPr>
              <a:t>2026 </a:t>
            </a:r>
            <a:r>
              <a:rPr lang="kk-KZ" altLang="ru-RU" sz="2000" b="1" dirty="0" smtClean="0">
                <a:solidFill>
                  <a:srgbClr val="194B75"/>
                </a:solidFill>
                <a:latin typeface="Lato Heavy"/>
              </a:rPr>
              <a:t>ЖЫЛДАРҒА АРНАЛҒАН ӘЛЕУМЕТТІК-ЭКОНОМИКАЛЫҚ ДАМУ БОЛЖАМЫ </a:t>
            </a:r>
          </a:p>
          <a:p>
            <a:pPr algn="ctr"/>
            <a:r>
              <a:rPr lang="ru-RU" altLang="ru-RU" sz="2000" b="1" dirty="0" smtClean="0">
                <a:solidFill>
                  <a:srgbClr val="194B75"/>
                </a:solidFill>
                <a:latin typeface="Lato Heavy"/>
              </a:rPr>
              <a:t>2 КЕЗЕҢ</a:t>
            </a:r>
            <a:endParaRPr lang="ru-RU" altLang="ru-RU" sz="2000" b="1" dirty="0">
              <a:solidFill>
                <a:srgbClr val="194B75"/>
              </a:solidFill>
              <a:latin typeface="Lato Heavy"/>
            </a:endParaRP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10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5579300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3016" y="4870164"/>
            <a:ext cx="279796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 err="1" smtClean="0">
                <a:solidFill>
                  <a:schemeClr val="tx2"/>
                </a:solidFill>
                <a:latin typeface="Lato Heavy"/>
              </a:rPr>
              <a:t>Нұр</a:t>
            </a:r>
            <a:r>
              <a:rPr lang="ru-RU" altLang="ru-RU" sz="1050" b="1" dirty="0" smtClean="0">
                <a:solidFill>
                  <a:schemeClr val="tx2"/>
                </a:solidFill>
                <a:latin typeface="Lato Heavy"/>
              </a:rPr>
              <a:t>-С</a:t>
            </a:r>
            <a:r>
              <a:rPr lang="kk-KZ" altLang="ru-RU" sz="1050" b="1" dirty="0" smtClean="0">
                <a:solidFill>
                  <a:schemeClr val="tx2"/>
                </a:solidFill>
                <a:latin typeface="Lato Heavy"/>
              </a:rPr>
              <a:t>ұ</a:t>
            </a:r>
            <a:r>
              <a:rPr lang="ru-RU" altLang="ru-RU" sz="1050" b="1" dirty="0" err="1" smtClean="0">
                <a:solidFill>
                  <a:schemeClr val="tx2"/>
                </a:solidFill>
                <a:latin typeface="Lato Heavy"/>
              </a:rPr>
              <a:t>лтан</a:t>
            </a:r>
            <a:r>
              <a:rPr lang="ru-RU" altLang="ru-RU" sz="1050" b="1" dirty="0" smtClean="0">
                <a:solidFill>
                  <a:schemeClr val="tx2"/>
                </a:solidFill>
                <a:latin typeface="Lato Heavy"/>
              </a:rPr>
              <a:t> </a:t>
            </a:r>
            <a:r>
              <a:rPr lang="ru-RU" altLang="ru-RU" sz="1050" b="1" dirty="0" smtClean="0">
                <a:solidFill>
                  <a:schemeClr val="tx2"/>
                </a:solidFill>
                <a:latin typeface="Lato Heavy"/>
              </a:rPr>
              <a:t>қаласы, қыркүйек 2021 ж.</a:t>
            </a:r>
            <a:endParaRPr lang="ru-RU" altLang="ru-RU" sz="1050" b="1" dirty="0">
              <a:solidFill>
                <a:schemeClr val="tx2"/>
              </a:solidFill>
              <a:latin typeface="Lato Heavy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AE5FE0-3045-466B-80BC-B7BC6F20E385}"/>
              </a:ext>
            </a:extLst>
          </p:cNvPr>
          <p:cNvSpPr txBox="1"/>
          <p:nvPr/>
        </p:nvSpPr>
        <p:spPr>
          <a:xfrm>
            <a:off x="-3697" y="0"/>
            <a:ext cx="9143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 smtClean="0">
                <a:solidFill>
                  <a:schemeClr val="bg1"/>
                </a:solidFill>
                <a:latin typeface="Lato Heavy"/>
              </a:rPr>
              <a:t>Қазақстан Республикасының Ұлттық экономика министрлігі </a:t>
            </a:r>
            <a:endParaRPr lang="ru-RU" altLang="ru-RU" sz="1600" b="1" dirty="0">
              <a:solidFill>
                <a:schemeClr val="bg1"/>
              </a:solidFill>
              <a:latin typeface="Lato Heavy"/>
            </a:endParaRPr>
          </a:p>
        </p:txBody>
      </p:sp>
    </p:spTree>
    <p:extLst>
      <p:ext uri="{BB962C8B-B14F-4D97-AF65-F5344CB8AC3E}">
        <p14:creationId xmlns:p14="http://schemas.microsoft.com/office/powerpoint/2010/main" val="17140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128603" y="600248"/>
            <a:ext cx="8847971" cy="1345128"/>
            <a:chOff x="96407" y="1555166"/>
            <a:chExt cx="2957432" cy="3384233"/>
          </a:xfrm>
        </p:grpSpPr>
        <p:sp>
          <p:nvSpPr>
            <p:cNvPr id="4" name="Rectangle 286">
              <a:extLst>
                <a:ext uri="{FF2B5EF4-FFF2-40B4-BE49-F238E27FC236}">
                  <a16:creationId xmlns:a16="http://schemas.microsoft.com/office/drawing/2014/main" id="{BB4C06D3-FD29-435A-ABFE-2ACB306E1A13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96407" y="1561078"/>
              <a:ext cx="2952000" cy="3378321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defTabSz="914378">
                <a:defRPr/>
              </a:pPr>
              <a:endParaRPr lang="en-US" sz="11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5" name="Rectangle 47">
              <a:extLst>
                <a:ext uri="{FF2B5EF4-FFF2-40B4-BE49-F238E27FC236}">
                  <a16:creationId xmlns:a16="http://schemas.microsoft.com/office/drawing/2014/main" id="{728C596F-1BC5-4A60-8545-21091F929238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01839" y="4906999"/>
              <a:ext cx="2952000" cy="32400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/>
            <a:p>
              <a:pPr algn="ctr" defTabSz="914378">
                <a:defRPr/>
              </a:pPr>
              <a:endParaRPr lang="ru-RU" sz="1100" kern="0" dirty="0">
                <a:solidFill>
                  <a:srgbClr val="000000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6" name="Rectangle 48">
              <a:extLst>
                <a:ext uri="{FF2B5EF4-FFF2-40B4-BE49-F238E27FC236}">
                  <a16:creationId xmlns:a16="http://schemas.microsoft.com/office/drawing/2014/main" id="{A04ACDF3-CA72-4AA3-AA09-2083E2DD928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839" y="1555166"/>
              <a:ext cx="2952000" cy="32400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/>
            <a:p>
              <a:pPr algn="ctr" defTabSz="914378">
                <a:defRPr/>
              </a:pPr>
              <a:endParaRPr lang="ru-RU" sz="1100" kern="0" dirty="0">
                <a:solidFill>
                  <a:srgbClr val="000000"/>
                </a:solidFill>
                <a:latin typeface="Arial" pitchFamily="34" charset="0"/>
                <a:ea typeface="ＭＳ Ｐゴシック"/>
              </a:endParaRPr>
            </a:p>
          </p:txBody>
        </p:sp>
      </p:grpSp>
      <p:sp>
        <p:nvSpPr>
          <p:cNvPr id="7" name="Rectangle 1"/>
          <p:cNvSpPr/>
          <p:nvPr/>
        </p:nvSpPr>
        <p:spPr>
          <a:xfrm>
            <a:off x="2402892" y="656955"/>
            <a:ext cx="6458151" cy="123171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BDD7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28603" y="1965447"/>
            <a:ext cx="8847971" cy="1358801"/>
            <a:chOff x="96407" y="1555166"/>
            <a:chExt cx="2957432" cy="3418658"/>
          </a:xfrm>
        </p:grpSpPr>
        <p:sp>
          <p:nvSpPr>
            <p:cNvPr id="9" name="Rectangle 286">
              <a:extLst>
                <a:ext uri="{FF2B5EF4-FFF2-40B4-BE49-F238E27FC236}">
                  <a16:creationId xmlns:a16="http://schemas.microsoft.com/office/drawing/2014/main" id="{BB4C06D3-FD29-435A-ABFE-2ACB306E1A13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96407" y="1561091"/>
              <a:ext cx="2952000" cy="3412733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defTabSz="914378">
                <a:defRPr/>
              </a:pPr>
              <a:endParaRPr lang="en-US" sz="15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0" name="Rectangle 47">
              <a:extLst>
                <a:ext uri="{FF2B5EF4-FFF2-40B4-BE49-F238E27FC236}">
                  <a16:creationId xmlns:a16="http://schemas.microsoft.com/office/drawing/2014/main" id="{728C596F-1BC5-4A60-8545-21091F929238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01839" y="4941424"/>
              <a:ext cx="2952000" cy="32400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/>
            <a:p>
              <a:pPr algn="ctr" defTabSz="914378">
                <a:defRPr/>
              </a:pPr>
              <a:endParaRPr lang="ru-RU" sz="1500" kern="0" dirty="0">
                <a:solidFill>
                  <a:srgbClr val="000000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1" name="Rectangle 48">
              <a:extLst>
                <a:ext uri="{FF2B5EF4-FFF2-40B4-BE49-F238E27FC236}">
                  <a16:creationId xmlns:a16="http://schemas.microsoft.com/office/drawing/2014/main" id="{A04ACDF3-CA72-4AA3-AA09-2083E2DD928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839" y="1555166"/>
              <a:ext cx="2952000" cy="32400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/>
            <a:p>
              <a:pPr algn="ctr" defTabSz="914378">
                <a:defRPr/>
              </a:pPr>
              <a:endParaRPr lang="ru-RU" sz="1500" kern="0" dirty="0">
                <a:solidFill>
                  <a:srgbClr val="000000"/>
                </a:solidFill>
                <a:latin typeface="Arial" pitchFamily="34" charset="0"/>
                <a:ea typeface="ＭＳ Ｐゴシック"/>
              </a:endParaRPr>
            </a:p>
          </p:txBody>
        </p:sp>
      </p:grpSp>
      <p:sp>
        <p:nvSpPr>
          <p:cNvPr id="12" name="Rectangle 1"/>
          <p:cNvSpPr/>
          <p:nvPr/>
        </p:nvSpPr>
        <p:spPr>
          <a:xfrm>
            <a:off x="2419143" y="2028937"/>
            <a:ext cx="6458151" cy="123171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BDD7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130786" y="3352343"/>
            <a:ext cx="8847971" cy="1345923"/>
            <a:chOff x="96407" y="1555166"/>
            <a:chExt cx="2957432" cy="3386258"/>
          </a:xfrm>
        </p:grpSpPr>
        <p:sp>
          <p:nvSpPr>
            <p:cNvPr id="14" name="Rectangle 286">
              <a:extLst>
                <a:ext uri="{FF2B5EF4-FFF2-40B4-BE49-F238E27FC236}">
                  <a16:creationId xmlns:a16="http://schemas.microsoft.com/office/drawing/2014/main" id="{BB4C06D3-FD29-435A-ABFE-2ACB306E1A1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6407" y="1561091"/>
              <a:ext cx="2952000" cy="3380333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defTabSz="914378">
                <a:defRPr/>
              </a:pPr>
              <a:endParaRPr lang="en-US" sz="15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5" name="Rectangle 47">
              <a:extLst>
                <a:ext uri="{FF2B5EF4-FFF2-40B4-BE49-F238E27FC236}">
                  <a16:creationId xmlns:a16="http://schemas.microsoft.com/office/drawing/2014/main" id="{728C596F-1BC5-4A60-8545-21091F929238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101839" y="4909024"/>
              <a:ext cx="2952000" cy="32400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/>
            <a:p>
              <a:pPr algn="ctr" defTabSz="914378">
                <a:defRPr/>
              </a:pPr>
              <a:endParaRPr lang="ru-RU" sz="1500" kern="0" dirty="0">
                <a:solidFill>
                  <a:srgbClr val="000000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6" name="Rectangle 48">
              <a:extLst>
                <a:ext uri="{FF2B5EF4-FFF2-40B4-BE49-F238E27FC236}">
                  <a16:creationId xmlns:a16="http://schemas.microsoft.com/office/drawing/2014/main" id="{A04ACDF3-CA72-4AA3-AA09-2083E2DD928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839" y="1555166"/>
              <a:ext cx="2952000" cy="32400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91438" tIns="45719" rIns="91438" bIns="45719" rtlCol="0" anchor="ctr">
              <a:noAutofit/>
            </a:bodyPr>
            <a:lstStyle/>
            <a:p>
              <a:pPr algn="ctr" defTabSz="914378">
                <a:defRPr/>
              </a:pPr>
              <a:endParaRPr lang="ru-RU" sz="1500" kern="0" dirty="0">
                <a:solidFill>
                  <a:srgbClr val="000000"/>
                </a:solidFill>
                <a:latin typeface="Arial" pitchFamily="34" charset="0"/>
                <a:ea typeface="ＭＳ Ｐゴシック"/>
              </a:endParaRPr>
            </a:p>
          </p:txBody>
        </p:sp>
      </p:grpSp>
      <p:sp>
        <p:nvSpPr>
          <p:cNvPr id="17" name="Rectangle 1"/>
          <p:cNvSpPr/>
          <p:nvPr/>
        </p:nvSpPr>
        <p:spPr>
          <a:xfrm>
            <a:off x="2405075" y="3411962"/>
            <a:ext cx="6458151" cy="123171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BDD7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68242"/>
            <a:ext cx="9144000" cy="4331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199" tIns="38599" rIns="77199" bIns="38599" rtlCol="0" anchor="ctr"/>
          <a:lstStyle/>
          <a:p>
            <a:pPr algn="ctr"/>
            <a:r>
              <a:rPr lang="kk-KZ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жамды 2-кезеңде әзірлеу факторлары</a:t>
            </a:r>
            <a:endParaRPr lang="ru-RU" sz="2000" b="1" cap="small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5" name="Straight Connector 21">
            <a:extLst>
              <a:ext uri="{FF2B5EF4-FFF2-40B4-BE49-F238E27FC236}">
                <a16:creationId xmlns:a16="http://schemas.microsoft.com/office/drawing/2014/main" id="{4209B738-BF0B-4FF2-B365-F85887FDFEC5}"/>
              </a:ext>
            </a:extLst>
          </p:cNvPr>
          <p:cNvCxnSpPr>
            <a:cxnSpLocks/>
          </p:cNvCxnSpPr>
          <p:nvPr/>
        </p:nvCxnSpPr>
        <p:spPr>
          <a:xfrm flipH="1">
            <a:off x="140340" y="1006498"/>
            <a:ext cx="780510" cy="9212"/>
          </a:xfrm>
          <a:prstGeom prst="line">
            <a:avLst/>
          </a:prstGeom>
          <a:ln w="28575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054C7E85-4BAF-AE48-B505-56A4CDACB79F}"/>
              </a:ext>
            </a:extLst>
          </p:cNvPr>
          <p:cNvGrpSpPr/>
          <p:nvPr/>
        </p:nvGrpSpPr>
        <p:grpSpPr>
          <a:xfrm>
            <a:off x="835750" y="671801"/>
            <a:ext cx="688635" cy="678723"/>
            <a:chOff x="5673653" y="3992580"/>
            <a:chExt cx="788946" cy="782981"/>
          </a:xfrm>
        </p:grpSpPr>
        <p:sp>
          <p:nvSpPr>
            <p:cNvPr id="50" name="Oval 74">
              <a:extLst>
                <a:ext uri="{FF2B5EF4-FFF2-40B4-BE49-F238E27FC236}">
                  <a16:creationId xmlns:a16="http://schemas.microsoft.com/office/drawing/2014/main" id="{0B6803A5-D850-B347-90BD-60C4C34FEBCD}"/>
                </a:ext>
              </a:extLst>
            </p:cNvPr>
            <p:cNvSpPr/>
            <p:nvPr/>
          </p:nvSpPr>
          <p:spPr bwMode="gray">
            <a:xfrm>
              <a:off x="5673653" y="3992580"/>
              <a:ext cx="788946" cy="782981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FBDD7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51" name="Freeform: Shape 87">
              <a:extLst>
                <a:ext uri="{FF2B5EF4-FFF2-40B4-BE49-F238E27FC236}">
                  <a16:creationId xmlns:a16="http://schemas.microsoft.com/office/drawing/2014/main" id="{209A1406-D916-0448-A4D2-1348EAC824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0958" y="4038510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52" name="Marvintrackercircle">
              <a:extLst>
                <a:ext uri="{FF2B5EF4-FFF2-40B4-BE49-F238E27FC236}">
                  <a16:creationId xmlns:a16="http://schemas.microsoft.com/office/drawing/2014/main" id="{49AB838E-E99C-1943-8FED-54506B80312B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5763824" y="4082070"/>
              <a:ext cx="608601" cy="603998"/>
            </a:xfrm>
            <a:prstGeom prst="ellips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70CE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grpSp>
        <p:nvGrpSpPr>
          <p:cNvPr id="29" name="Group 17">
            <a:extLst>
              <a:ext uri="{FF2B5EF4-FFF2-40B4-BE49-F238E27FC236}">
                <a16:creationId xmlns:a16="http://schemas.microsoft.com/office/drawing/2014/main" id="{663E8237-FD24-49B1-A6A2-EC4B27BBFB6B}"/>
              </a:ext>
            </a:extLst>
          </p:cNvPr>
          <p:cNvGrpSpPr/>
          <p:nvPr/>
        </p:nvGrpSpPr>
        <p:grpSpPr>
          <a:xfrm>
            <a:off x="1019052" y="851756"/>
            <a:ext cx="314010" cy="304367"/>
            <a:chOff x="358708" y="1106199"/>
            <a:chExt cx="348901" cy="374419"/>
          </a:xfrm>
          <a:solidFill>
            <a:schemeClr val="tx1"/>
          </a:solidFill>
        </p:grpSpPr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2F150A6F-5B5D-42AA-BFA9-2E32D47F4F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474" y="1337010"/>
              <a:ext cx="92880" cy="109926"/>
            </a:xfrm>
            <a:custGeom>
              <a:avLst/>
              <a:gdLst>
                <a:gd name="T0" fmla="*/ 10 w 114"/>
                <a:gd name="T1" fmla="*/ 125 h 125"/>
                <a:gd name="T2" fmla="*/ 104 w 114"/>
                <a:gd name="T3" fmla="*/ 125 h 125"/>
                <a:gd name="T4" fmla="*/ 114 w 114"/>
                <a:gd name="T5" fmla="*/ 115 h 125"/>
                <a:gd name="T6" fmla="*/ 114 w 114"/>
                <a:gd name="T7" fmla="*/ 10 h 125"/>
                <a:gd name="T8" fmla="*/ 104 w 114"/>
                <a:gd name="T9" fmla="*/ 0 h 125"/>
                <a:gd name="T10" fmla="*/ 10 w 114"/>
                <a:gd name="T11" fmla="*/ 0 h 125"/>
                <a:gd name="T12" fmla="*/ 0 w 114"/>
                <a:gd name="T13" fmla="*/ 10 h 125"/>
                <a:gd name="T14" fmla="*/ 0 w 114"/>
                <a:gd name="T15" fmla="*/ 115 h 125"/>
                <a:gd name="T16" fmla="*/ 10 w 114"/>
                <a:gd name="T17" fmla="*/ 125 h 125"/>
                <a:gd name="T18" fmla="*/ 19 w 114"/>
                <a:gd name="T19" fmla="*/ 19 h 125"/>
                <a:gd name="T20" fmla="*/ 95 w 114"/>
                <a:gd name="T21" fmla="*/ 19 h 125"/>
                <a:gd name="T22" fmla="*/ 95 w 114"/>
                <a:gd name="T23" fmla="*/ 106 h 125"/>
                <a:gd name="T24" fmla="*/ 19 w 114"/>
                <a:gd name="T25" fmla="*/ 106 h 125"/>
                <a:gd name="T26" fmla="*/ 19 w 114"/>
                <a:gd name="T27" fmla="*/ 19 h 125"/>
                <a:gd name="T28" fmla="*/ 19 w 114"/>
                <a:gd name="T29" fmla="*/ 1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" h="125">
                  <a:moveTo>
                    <a:pt x="10" y="125"/>
                  </a:moveTo>
                  <a:cubicBezTo>
                    <a:pt x="104" y="125"/>
                    <a:pt x="104" y="125"/>
                    <a:pt x="104" y="125"/>
                  </a:cubicBezTo>
                  <a:cubicBezTo>
                    <a:pt x="110" y="125"/>
                    <a:pt x="114" y="121"/>
                    <a:pt x="114" y="115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4"/>
                    <a:pt x="110" y="0"/>
                    <a:pt x="104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1"/>
                    <a:pt x="5" y="125"/>
                    <a:pt x="10" y="125"/>
                  </a:cubicBezTo>
                  <a:close/>
                  <a:moveTo>
                    <a:pt x="19" y="19"/>
                  </a:moveTo>
                  <a:cubicBezTo>
                    <a:pt x="95" y="19"/>
                    <a:pt x="95" y="19"/>
                    <a:pt x="95" y="19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>
                <a:solidFill>
                  <a:srgbClr val="000000"/>
                </a:solidFill>
                <a:latin typeface="Calibri"/>
                <a:cs typeface="+mn-cs"/>
              </a:endParaRPr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C8BB16EA-5A54-4AEE-A215-EDEA5F4E22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890" y="1269278"/>
              <a:ext cx="92880" cy="177658"/>
            </a:xfrm>
            <a:custGeom>
              <a:avLst/>
              <a:gdLst>
                <a:gd name="T0" fmla="*/ 9 w 114"/>
                <a:gd name="T1" fmla="*/ 0 h 202"/>
                <a:gd name="T2" fmla="*/ 0 w 114"/>
                <a:gd name="T3" fmla="*/ 10 h 202"/>
                <a:gd name="T4" fmla="*/ 0 w 114"/>
                <a:gd name="T5" fmla="*/ 192 h 202"/>
                <a:gd name="T6" fmla="*/ 9 w 114"/>
                <a:gd name="T7" fmla="*/ 202 h 202"/>
                <a:gd name="T8" fmla="*/ 104 w 114"/>
                <a:gd name="T9" fmla="*/ 202 h 202"/>
                <a:gd name="T10" fmla="*/ 114 w 114"/>
                <a:gd name="T11" fmla="*/ 192 h 202"/>
                <a:gd name="T12" fmla="*/ 114 w 114"/>
                <a:gd name="T13" fmla="*/ 10 h 202"/>
                <a:gd name="T14" fmla="*/ 104 w 114"/>
                <a:gd name="T15" fmla="*/ 0 h 202"/>
                <a:gd name="T16" fmla="*/ 9 w 114"/>
                <a:gd name="T17" fmla="*/ 0 h 202"/>
                <a:gd name="T18" fmla="*/ 9 w 114"/>
                <a:gd name="T19" fmla="*/ 0 h 202"/>
                <a:gd name="T20" fmla="*/ 95 w 114"/>
                <a:gd name="T21" fmla="*/ 183 h 202"/>
                <a:gd name="T22" fmla="*/ 19 w 114"/>
                <a:gd name="T23" fmla="*/ 183 h 202"/>
                <a:gd name="T24" fmla="*/ 19 w 114"/>
                <a:gd name="T25" fmla="*/ 20 h 202"/>
                <a:gd name="T26" fmla="*/ 95 w 114"/>
                <a:gd name="T27" fmla="*/ 20 h 202"/>
                <a:gd name="T28" fmla="*/ 95 w 114"/>
                <a:gd name="T29" fmla="*/ 183 h 202"/>
                <a:gd name="T30" fmla="*/ 95 w 114"/>
                <a:gd name="T31" fmla="*/ 183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4" h="202">
                  <a:moveTo>
                    <a:pt x="9" y="0"/>
                  </a:moveTo>
                  <a:cubicBezTo>
                    <a:pt x="5" y="0"/>
                    <a:pt x="0" y="5"/>
                    <a:pt x="0" y="1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198"/>
                    <a:pt x="5" y="202"/>
                    <a:pt x="9" y="202"/>
                  </a:cubicBezTo>
                  <a:cubicBezTo>
                    <a:pt x="104" y="202"/>
                    <a:pt x="104" y="202"/>
                    <a:pt x="104" y="202"/>
                  </a:cubicBezTo>
                  <a:cubicBezTo>
                    <a:pt x="110" y="202"/>
                    <a:pt x="114" y="198"/>
                    <a:pt x="114" y="192"/>
                  </a:cubicBezTo>
                  <a:cubicBezTo>
                    <a:pt x="114" y="10"/>
                    <a:pt x="114" y="10"/>
                    <a:pt x="114" y="10"/>
                  </a:cubicBezTo>
                  <a:cubicBezTo>
                    <a:pt x="114" y="5"/>
                    <a:pt x="110" y="0"/>
                    <a:pt x="10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  <a:moveTo>
                    <a:pt x="95" y="183"/>
                  </a:moveTo>
                  <a:cubicBezTo>
                    <a:pt x="19" y="183"/>
                    <a:pt x="19" y="183"/>
                    <a:pt x="19" y="183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5" y="183"/>
                    <a:pt x="95" y="183"/>
                    <a:pt x="95" y="183"/>
                  </a:cubicBezTo>
                  <a:cubicBezTo>
                    <a:pt x="95" y="183"/>
                    <a:pt x="95" y="183"/>
                    <a:pt x="95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>
                <a:solidFill>
                  <a:srgbClr val="000000"/>
                </a:solidFill>
                <a:latin typeface="Calibri"/>
                <a:cs typeface="+mn-cs"/>
              </a:endParaRPr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F928E9DD-5DDD-44AC-B941-ECBC12C792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5878" y="1207837"/>
              <a:ext cx="92195" cy="239099"/>
            </a:xfrm>
            <a:custGeom>
              <a:avLst/>
              <a:gdLst>
                <a:gd name="T0" fmla="*/ 0 w 113"/>
                <a:gd name="T1" fmla="*/ 10 h 272"/>
                <a:gd name="T2" fmla="*/ 0 w 113"/>
                <a:gd name="T3" fmla="*/ 262 h 272"/>
                <a:gd name="T4" fmla="*/ 9 w 113"/>
                <a:gd name="T5" fmla="*/ 272 h 272"/>
                <a:gd name="T6" fmla="*/ 104 w 113"/>
                <a:gd name="T7" fmla="*/ 272 h 272"/>
                <a:gd name="T8" fmla="*/ 113 w 113"/>
                <a:gd name="T9" fmla="*/ 262 h 272"/>
                <a:gd name="T10" fmla="*/ 113 w 113"/>
                <a:gd name="T11" fmla="*/ 10 h 272"/>
                <a:gd name="T12" fmla="*/ 104 w 113"/>
                <a:gd name="T13" fmla="*/ 0 h 272"/>
                <a:gd name="T14" fmla="*/ 9 w 113"/>
                <a:gd name="T15" fmla="*/ 0 h 272"/>
                <a:gd name="T16" fmla="*/ 0 w 113"/>
                <a:gd name="T17" fmla="*/ 10 h 272"/>
                <a:gd name="T18" fmla="*/ 19 w 113"/>
                <a:gd name="T19" fmla="*/ 19 h 272"/>
                <a:gd name="T20" fmla="*/ 95 w 113"/>
                <a:gd name="T21" fmla="*/ 19 h 272"/>
                <a:gd name="T22" fmla="*/ 95 w 113"/>
                <a:gd name="T23" fmla="*/ 253 h 272"/>
                <a:gd name="T24" fmla="*/ 19 w 113"/>
                <a:gd name="T25" fmla="*/ 253 h 272"/>
                <a:gd name="T26" fmla="*/ 19 w 113"/>
                <a:gd name="T27" fmla="*/ 19 h 272"/>
                <a:gd name="T28" fmla="*/ 19 w 113"/>
                <a:gd name="T29" fmla="*/ 1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272">
                  <a:moveTo>
                    <a:pt x="0" y="10"/>
                  </a:moveTo>
                  <a:cubicBezTo>
                    <a:pt x="0" y="262"/>
                    <a:pt x="0" y="262"/>
                    <a:pt x="0" y="262"/>
                  </a:cubicBezTo>
                  <a:cubicBezTo>
                    <a:pt x="0" y="268"/>
                    <a:pt x="4" y="272"/>
                    <a:pt x="9" y="272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9" y="272"/>
                    <a:pt x="113" y="268"/>
                    <a:pt x="113" y="262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4"/>
                    <a:pt x="109" y="0"/>
                    <a:pt x="10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lose/>
                  <a:moveTo>
                    <a:pt x="19" y="19"/>
                  </a:moveTo>
                  <a:cubicBezTo>
                    <a:pt x="95" y="19"/>
                    <a:pt x="95" y="19"/>
                    <a:pt x="95" y="19"/>
                  </a:cubicBezTo>
                  <a:cubicBezTo>
                    <a:pt x="95" y="253"/>
                    <a:pt x="95" y="253"/>
                    <a:pt x="95" y="253"/>
                  </a:cubicBezTo>
                  <a:cubicBezTo>
                    <a:pt x="19" y="253"/>
                    <a:pt x="19" y="253"/>
                    <a:pt x="19" y="253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>
                <a:solidFill>
                  <a:srgbClr val="000000"/>
                </a:solidFill>
                <a:latin typeface="Calibri"/>
                <a:cs typeface="+mn-cs"/>
              </a:endParaRPr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18632B08-1058-47F2-97C0-8C1159E61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08" y="1464703"/>
              <a:ext cx="348901" cy="15915"/>
            </a:xfrm>
            <a:custGeom>
              <a:avLst/>
              <a:gdLst>
                <a:gd name="T0" fmla="*/ 418 w 428"/>
                <a:gd name="T1" fmla="*/ 0 h 18"/>
                <a:gd name="T2" fmla="*/ 9 w 428"/>
                <a:gd name="T3" fmla="*/ 0 h 18"/>
                <a:gd name="T4" fmla="*/ 0 w 428"/>
                <a:gd name="T5" fmla="*/ 9 h 18"/>
                <a:gd name="T6" fmla="*/ 9 w 428"/>
                <a:gd name="T7" fmla="*/ 18 h 18"/>
                <a:gd name="T8" fmla="*/ 418 w 428"/>
                <a:gd name="T9" fmla="*/ 18 h 18"/>
                <a:gd name="T10" fmla="*/ 428 w 428"/>
                <a:gd name="T11" fmla="*/ 9 h 18"/>
                <a:gd name="T12" fmla="*/ 418 w 428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8" h="18">
                  <a:moveTo>
                    <a:pt x="41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4"/>
                    <a:pt x="4" y="18"/>
                    <a:pt x="9" y="18"/>
                  </a:cubicBezTo>
                  <a:cubicBezTo>
                    <a:pt x="418" y="18"/>
                    <a:pt x="418" y="18"/>
                    <a:pt x="418" y="18"/>
                  </a:cubicBezTo>
                  <a:cubicBezTo>
                    <a:pt x="424" y="18"/>
                    <a:pt x="428" y="14"/>
                    <a:pt x="428" y="9"/>
                  </a:cubicBezTo>
                  <a:cubicBezTo>
                    <a:pt x="428" y="4"/>
                    <a:pt x="424" y="0"/>
                    <a:pt x="4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>
                <a:solidFill>
                  <a:srgbClr val="000000"/>
                </a:solidFill>
                <a:latin typeface="Calibri"/>
                <a:cs typeface="+mn-cs"/>
              </a:endParaRPr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AA97107C-8E68-4B61-8004-731206632136}"/>
                </a:ext>
              </a:extLst>
            </p:cNvPr>
            <p:cNvSpPr>
              <a:spLocks/>
            </p:cNvSpPr>
            <p:nvPr/>
          </p:nvSpPr>
          <p:spPr bwMode="auto">
            <a:xfrm rot="380362">
              <a:off x="367962" y="1106199"/>
              <a:ext cx="237856" cy="166555"/>
            </a:xfrm>
            <a:custGeom>
              <a:avLst/>
              <a:gdLst>
                <a:gd name="T0" fmla="*/ 11 w 292"/>
                <a:gd name="T1" fmla="*/ 189 h 189"/>
                <a:gd name="T2" fmla="*/ 16 w 292"/>
                <a:gd name="T3" fmla="*/ 188 h 189"/>
                <a:gd name="T4" fmla="*/ 266 w 292"/>
                <a:gd name="T5" fmla="*/ 45 h 189"/>
                <a:gd name="T6" fmla="*/ 259 w 292"/>
                <a:gd name="T7" fmla="*/ 67 h 189"/>
                <a:gd name="T8" fmla="*/ 266 w 292"/>
                <a:gd name="T9" fmla="*/ 79 h 189"/>
                <a:gd name="T10" fmla="*/ 268 w 292"/>
                <a:gd name="T11" fmla="*/ 80 h 189"/>
                <a:gd name="T12" fmla="*/ 278 w 292"/>
                <a:gd name="T13" fmla="*/ 73 h 189"/>
                <a:gd name="T14" fmla="*/ 292 w 292"/>
                <a:gd name="T15" fmla="*/ 28 h 189"/>
                <a:gd name="T16" fmla="*/ 292 w 292"/>
                <a:gd name="T17" fmla="*/ 28 h 189"/>
                <a:gd name="T18" fmla="*/ 292 w 292"/>
                <a:gd name="T19" fmla="*/ 27 h 189"/>
                <a:gd name="T20" fmla="*/ 292 w 292"/>
                <a:gd name="T21" fmla="*/ 26 h 189"/>
                <a:gd name="T22" fmla="*/ 292 w 292"/>
                <a:gd name="T23" fmla="*/ 26 h 189"/>
                <a:gd name="T24" fmla="*/ 292 w 292"/>
                <a:gd name="T25" fmla="*/ 25 h 189"/>
                <a:gd name="T26" fmla="*/ 292 w 292"/>
                <a:gd name="T27" fmla="*/ 25 h 189"/>
                <a:gd name="T28" fmla="*/ 292 w 292"/>
                <a:gd name="T29" fmla="*/ 24 h 189"/>
                <a:gd name="T30" fmla="*/ 292 w 292"/>
                <a:gd name="T31" fmla="*/ 24 h 189"/>
                <a:gd name="T32" fmla="*/ 292 w 292"/>
                <a:gd name="T33" fmla="*/ 23 h 189"/>
                <a:gd name="T34" fmla="*/ 292 w 292"/>
                <a:gd name="T35" fmla="*/ 23 h 189"/>
                <a:gd name="T36" fmla="*/ 291 w 292"/>
                <a:gd name="T37" fmla="*/ 22 h 189"/>
                <a:gd name="T38" fmla="*/ 291 w 292"/>
                <a:gd name="T39" fmla="*/ 21 h 189"/>
                <a:gd name="T40" fmla="*/ 290 w 292"/>
                <a:gd name="T41" fmla="*/ 21 h 189"/>
                <a:gd name="T42" fmla="*/ 290 w 292"/>
                <a:gd name="T43" fmla="*/ 21 h 189"/>
                <a:gd name="T44" fmla="*/ 290 w 292"/>
                <a:gd name="T45" fmla="*/ 20 h 189"/>
                <a:gd name="T46" fmla="*/ 290 w 292"/>
                <a:gd name="T47" fmla="*/ 19 h 189"/>
                <a:gd name="T48" fmla="*/ 290 w 292"/>
                <a:gd name="T49" fmla="*/ 19 h 189"/>
                <a:gd name="T50" fmla="*/ 289 w 292"/>
                <a:gd name="T51" fmla="*/ 19 h 189"/>
                <a:gd name="T52" fmla="*/ 289 w 292"/>
                <a:gd name="T53" fmla="*/ 18 h 189"/>
                <a:gd name="T54" fmla="*/ 288 w 292"/>
                <a:gd name="T55" fmla="*/ 18 h 189"/>
                <a:gd name="T56" fmla="*/ 288 w 292"/>
                <a:gd name="T57" fmla="*/ 18 h 189"/>
                <a:gd name="T58" fmla="*/ 287 w 292"/>
                <a:gd name="T59" fmla="*/ 17 h 189"/>
                <a:gd name="T60" fmla="*/ 287 w 292"/>
                <a:gd name="T61" fmla="*/ 17 h 189"/>
                <a:gd name="T62" fmla="*/ 286 w 292"/>
                <a:gd name="T63" fmla="*/ 17 h 189"/>
                <a:gd name="T64" fmla="*/ 286 w 292"/>
                <a:gd name="T65" fmla="*/ 17 h 189"/>
                <a:gd name="T66" fmla="*/ 240 w 292"/>
                <a:gd name="T67" fmla="*/ 2 h 189"/>
                <a:gd name="T68" fmla="*/ 228 w 292"/>
                <a:gd name="T69" fmla="*/ 8 h 189"/>
                <a:gd name="T70" fmla="*/ 235 w 292"/>
                <a:gd name="T71" fmla="*/ 20 h 189"/>
                <a:gd name="T72" fmla="*/ 259 w 292"/>
                <a:gd name="T73" fmla="*/ 28 h 189"/>
                <a:gd name="T74" fmla="*/ 7 w 292"/>
                <a:gd name="T75" fmla="*/ 172 h 189"/>
                <a:gd name="T76" fmla="*/ 3 w 292"/>
                <a:gd name="T77" fmla="*/ 185 h 189"/>
                <a:gd name="T78" fmla="*/ 11 w 292"/>
                <a:gd name="T7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2" h="189">
                  <a:moveTo>
                    <a:pt x="11" y="189"/>
                  </a:moveTo>
                  <a:cubicBezTo>
                    <a:pt x="13" y="189"/>
                    <a:pt x="14" y="189"/>
                    <a:pt x="16" y="188"/>
                  </a:cubicBezTo>
                  <a:cubicBezTo>
                    <a:pt x="266" y="45"/>
                    <a:pt x="266" y="45"/>
                    <a:pt x="266" y="45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8" y="73"/>
                    <a:pt x="260" y="78"/>
                    <a:pt x="266" y="79"/>
                  </a:cubicBezTo>
                  <a:cubicBezTo>
                    <a:pt x="266" y="80"/>
                    <a:pt x="267" y="80"/>
                    <a:pt x="268" y="80"/>
                  </a:cubicBezTo>
                  <a:cubicBezTo>
                    <a:pt x="272" y="80"/>
                    <a:pt x="276" y="77"/>
                    <a:pt x="278" y="73"/>
                  </a:cubicBezTo>
                  <a:cubicBezTo>
                    <a:pt x="292" y="28"/>
                    <a:pt x="292" y="28"/>
                    <a:pt x="292" y="28"/>
                  </a:cubicBezTo>
                  <a:cubicBezTo>
                    <a:pt x="292" y="28"/>
                    <a:pt x="292" y="28"/>
                    <a:pt x="292" y="28"/>
                  </a:cubicBezTo>
                  <a:cubicBezTo>
                    <a:pt x="292" y="28"/>
                    <a:pt x="292" y="27"/>
                    <a:pt x="292" y="27"/>
                  </a:cubicBezTo>
                  <a:cubicBezTo>
                    <a:pt x="292" y="27"/>
                    <a:pt x="292" y="27"/>
                    <a:pt x="292" y="26"/>
                  </a:cubicBezTo>
                  <a:cubicBezTo>
                    <a:pt x="292" y="26"/>
                    <a:pt x="292" y="26"/>
                    <a:pt x="292" y="26"/>
                  </a:cubicBezTo>
                  <a:cubicBezTo>
                    <a:pt x="292" y="26"/>
                    <a:pt x="292" y="26"/>
                    <a:pt x="292" y="25"/>
                  </a:cubicBezTo>
                  <a:cubicBezTo>
                    <a:pt x="292" y="25"/>
                    <a:pt x="292" y="25"/>
                    <a:pt x="292" y="25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24"/>
                    <a:pt x="292" y="24"/>
                    <a:pt x="292" y="24"/>
                  </a:cubicBezTo>
                  <a:cubicBezTo>
                    <a:pt x="292" y="23"/>
                    <a:pt x="292" y="23"/>
                    <a:pt x="292" y="23"/>
                  </a:cubicBezTo>
                  <a:cubicBezTo>
                    <a:pt x="292" y="23"/>
                    <a:pt x="292" y="23"/>
                    <a:pt x="292" y="23"/>
                  </a:cubicBezTo>
                  <a:cubicBezTo>
                    <a:pt x="291" y="22"/>
                    <a:pt x="291" y="22"/>
                    <a:pt x="291" y="22"/>
                  </a:cubicBezTo>
                  <a:cubicBezTo>
                    <a:pt x="291" y="21"/>
                    <a:pt x="291" y="21"/>
                    <a:pt x="291" y="21"/>
                  </a:cubicBezTo>
                  <a:cubicBezTo>
                    <a:pt x="291" y="21"/>
                    <a:pt x="291" y="21"/>
                    <a:pt x="290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0" y="20"/>
                    <a:pt x="290" y="20"/>
                    <a:pt x="290" y="20"/>
                  </a:cubicBezTo>
                  <a:cubicBezTo>
                    <a:pt x="290" y="20"/>
                    <a:pt x="290" y="20"/>
                    <a:pt x="290" y="19"/>
                  </a:cubicBezTo>
                  <a:cubicBezTo>
                    <a:pt x="290" y="19"/>
                    <a:pt x="290" y="19"/>
                    <a:pt x="290" y="19"/>
                  </a:cubicBezTo>
                  <a:cubicBezTo>
                    <a:pt x="289" y="19"/>
                    <a:pt x="289" y="19"/>
                    <a:pt x="289" y="19"/>
                  </a:cubicBezTo>
                  <a:cubicBezTo>
                    <a:pt x="289" y="18"/>
                    <a:pt x="289" y="18"/>
                    <a:pt x="289" y="18"/>
                  </a:cubicBezTo>
                  <a:cubicBezTo>
                    <a:pt x="288" y="18"/>
                    <a:pt x="288" y="18"/>
                    <a:pt x="288" y="18"/>
                  </a:cubicBezTo>
                  <a:cubicBezTo>
                    <a:pt x="288" y="18"/>
                    <a:pt x="288" y="18"/>
                    <a:pt x="288" y="18"/>
                  </a:cubicBezTo>
                  <a:cubicBezTo>
                    <a:pt x="287" y="17"/>
                    <a:pt x="287" y="17"/>
                    <a:pt x="287" y="17"/>
                  </a:cubicBezTo>
                  <a:cubicBezTo>
                    <a:pt x="287" y="17"/>
                    <a:pt x="287" y="17"/>
                    <a:pt x="287" y="17"/>
                  </a:cubicBezTo>
                  <a:cubicBezTo>
                    <a:pt x="286" y="17"/>
                    <a:pt x="286" y="17"/>
                    <a:pt x="286" y="17"/>
                  </a:cubicBezTo>
                  <a:cubicBezTo>
                    <a:pt x="286" y="17"/>
                    <a:pt x="286" y="17"/>
                    <a:pt x="286" y="17"/>
                  </a:cubicBezTo>
                  <a:cubicBezTo>
                    <a:pt x="240" y="2"/>
                    <a:pt x="240" y="2"/>
                    <a:pt x="240" y="2"/>
                  </a:cubicBezTo>
                  <a:cubicBezTo>
                    <a:pt x="235" y="0"/>
                    <a:pt x="230" y="3"/>
                    <a:pt x="228" y="8"/>
                  </a:cubicBezTo>
                  <a:cubicBezTo>
                    <a:pt x="227" y="13"/>
                    <a:pt x="229" y="18"/>
                    <a:pt x="235" y="20"/>
                  </a:cubicBezTo>
                  <a:cubicBezTo>
                    <a:pt x="259" y="28"/>
                    <a:pt x="259" y="28"/>
                    <a:pt x="259" y="28"/>
                  </a:cubicBezTo>
                  <a:cubicBezTo>
                    <a:pt x="7" y="172"/>
                    <a:pt x="7" y="172"/>
                    <a:pt x="7" y="172"/>
                  </a:cubicBezTo>
                  <a:cubicBezTo>
                    <a:pt x="2" y="174"/>
                    <a:pt x="0" y="180"/>
                    <a:pt x="3" y="185"/>
                  </a:cubicBezTo>
                  <a:cubicBezTo>
                    <a:pt x="5" y="188"/>
                    <a:pt x="8" y="189"/>
                    <a:pt x="11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 cap="flat" cmpd="sng" algn="ctr">
                  <a:solidFill>
                    <a:srgbClr val="FFFFFF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US">
                <a:solidFill>
                  <a:srgbClr val="000000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65" name="Скругленный прямоугольник 64"/>
          <p:cNvSpPr/>
          <p:nvPr/>
        </p:nvSpPr>
        <p:spPr>
          <a:xfrm>
            <a:off x="180036" y="1419703"/>
            <a:ext cx="2096794" cy="43307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FDE8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80036" y="1413260"/>
            <a:ext cx="212273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ts val="1900"/>
            </a:pPr>
            <a:r>
              <a:rPr lang="ru-RU" sz="1050" b="1" dirty="0" smtClean="0">
                <a:latin typeface="Arial" panose="020B0604020202020204" pitchFamily="34" charset="0"/>
                <a:ea typeface="Trebuchet MS"/>
                <a:sym typeface="Trebuchet MS"/>
              </a:rPr>
              <a:t>Қазақстан экономикасының даму қорытындылары</a:t>
            </a:r>
            <a:endParaRPr lang="ru-RU" sz="1050" b="1" dirty="0">
              <a:latin typeface="Arial" panose="020B0604020202020204" pitchFamily="34" charset="0"/>
              <a:ea typeface="Trebuchet MS"/>
              <a:sym typeface="Trebuchet MS"/>
            </a:endParaRPr>
          </a:p>
        </p:txBody>
      </p:sp>
      <p:cxnSp>
        <p:nvCxnSpPr>
          <p:cNvPr id="68" name="Straight Connector 21">
            <a:extLst>
              <a:ext uri="{FF2B5EF4-FFF2-40B4-BE49-F238E27FC236}">
                <a16:creationId xmlns:a16="http://schemas.microsoft.com/office/drawing/2014/main" id="{4209B738-BF0B-4FF2-B365-F85887FDFEC5}"/>
              </a:ext>
            </a:extLst>
          </p:cNvPr>
          <p:cNvCxnSpPr>
            <a:cxnSpLocks/>
          </p:cNvCxnSpPr>
          <p:nvPr/>
        </p:nvCxnSpPr>
        <p:spPr>
          <a:xfrm flipH="1">
            <a:off x="120064" y="2391226"/>
            <a:ext cx="780510" cy="9212"/>
          </a:xfrm>
          <a:prstGeom prst="line">
            <a:avLst/>
          </a:prstGeom>
          <a:ln w="28575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054C7E85-4BAF-AE48-B505-56A4CDACB79F}"/>
              </a:ext>
            </a:extLst>
          </p:cNvPr>
          <p:cNvGrpSpPr/>
          <p:nvPr/>
        </p:nvGrpSpPr>
        <p:grpSpPr>
          <a:xfrm>
            <a:off x="842034" y="2049997"/>
            <a:ext cx="688635" cy="678723"/>
            <a:chOff x="5673653" y="3992579"/>
            <a:chExt cx="788946" cy="782981"/>
          </a:xfrm>
        </p:grpSpPr>
        <p:sp>
          <p:nvSpPr>
            <p:cNvPr id="77" name="Oval 74">
              <a:extLst>
                <a:ext uri="{FF2B5EF4-FFF2-40B4-BE49-F238E27FC236}">
                  <a16:creationId xmlns:a16="http://schemas.microsoft.com/office/drawing/2014/main" id="{0B6803A5-D850-B347-90BD-60C4C34FEBCD}"/>
                </a:ext>
              </a:extLst>
            </p:cNvPr>
            <p:cNvSpPr/>
            <p:nvPr/>
          </p:nvSpPr>
          <p:spPr bwMode="gray">
            <a:xfrm>
              <a:off x="5673653" y="3992579"/>
              <a:ext cx="788946" cy="782981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FBDD7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78" name="Freeform: Shape 87">
              <a:extLst>
                <a:ext uri="{FF2B5EF4-FFF2-40B4-BE49-F238E27FC236}">
                  <a16:creationId xmlns:a16="http://schemas.microsoft.com/office/drawing/2014/main" id="{209A1406-D916-0448-A4D2-1348EAC824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0958" y="4038510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79" name="Marvintrackercircle">
              <a:extLst>
                <a:ext uri="{FF2B5EF4-FFF2-40B4-BE49-F238E27FC236}">
                  <a16:creationId xmlns:a16="http://schemas.microsoft.com/office/drawing/2014/main" id="{49AB838E-E99C-1943-8FED-54506B80312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5763824" y="4082070"/>
              <a:ext cx="608601" cy="603998"/>
            </a:xfrm>
            <a:prstGeom prst="ellips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70CE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81" name="Скругленный прямоугольник 80"/>
          <p:cNvSpPr/>
          <p:nvPr/>
        </p:nvSpPr>
        <p:spPr>
          <a:xfrm>
            <a:off x="218484" y="2813092"/>
            <a:ext cx="2058346" cy="43307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FDE8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70431" y="2791315"/>
            <a:ext cx="20702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ts val="1900"/>
            </a:pPr>
            <a:r>
              <a:rPr lang="ru-RU" sz="1200" b="1" dirty="0" smtClean="0">
                <a:latin typeface="Arial" panose="020B0604020202020204" pitchFamily="34" charset="0"/>
                <a:ea typeface="Trebuchet MS"/>
                <a:sym typeface="Trebuchet MS"/>
              </a:rPr>
              <a:t>Әлемдік экономика өсуінің болжамдары</a:t>
            </a:r>
            <a:endParaRPr lang="ru-RU" sz="1050" dirty="0">
              <a:solidFill>
                <a:schemeClr val="accent1"/>
              </a:solidFill>
              <a:latin typeface="Arial" panose="020B0604020202020204" pitchFamily="34" charset="0"/>
              <a:ea typeface="Trebuchet MS"/>
              <a:sym typeface="Trebuchet MS"/>
            </a:endParaRPr>
          </a:p>
        </p:txBody>
      </p:sp>
      <p:pic>
        <p:nvPicPr>
          <p:cNvPr id="60" name="Picture 16">
            <a:extLst>
              <a:ext uri="{FF2B5EF4-FFF2-40B4-BE49-F238E27FC236}">
                <a16:creationId xmlns:a16="http://schemas.microsoft.com/office/drawing/2014/main" id="{9A48DD0A-9791-4E0B-AF4F-7C6BD01A38E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68" y="2217839"/>
            <a:ext cx="360000" cy="362743"/>
          </a:xfrm>
          <a:prstGeom prst="rect">
            <a:avLst/>
          </a:prstGeom>
        </p:spPr>
      </p:pic>
      <p:cxnSp>
        <p:nvCxnSpPr>
          <p:cNvPr id="82" name="Straight Connector 21">
            <a:extLst>
              <a:ext uri="{FF2B5EF4-FFF2-40B4-BE49-F238E27FC236}">
                <a16:creationId xmlns:a16="http://schemas.microsoft.com/office/drawing/2014/main" id="{4209B738-BF0B-4FF2-B365-F85887FDFEC5}"/>
              </a:ext>
            </a:extLst>
          </p:cNvPr>
          <p:cNvCxnSpPr>
            <a:cxnSpLocks/>
          </p:cNvCxnSpPr>
          <p:nvPr/>
        </p:nvCxnSpPr>
        <p:spPr>
          <a:xfrm flipH="1">
            <a:off x="115601" y="3765790"/>
            <a:ext cx="780510" cy="9212"/>
          </a:xfrm>
          <a:prstGeom prst="line">
            <a:avLst/>
          </a:prstGeom>
          <a:ln w="28575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54C7E85-4BAF-AE48-B505-56A4CDACB79F}"/>
              </a:ext>
            </a:extLst>
          </p:cNvPr>
          <p:cNvGrpSpPr/>
          <p:nvPr/>
        </p:nvGrpSpPr>
        <p:grpSpPr>
          <a:xfrm>
            <a:off x="826576" y="3423033"/>
            <a:ext cx="688635" cy="678723"/>
            <a:chOff x="5673653" y="3992579"/>
            <a:chExt cx="788946" cy="782981"/>
          </a:xfrm>
        </p:grpSpPr>
        <p:sp>
          <p:nvSpPr>
            <p:cNvPr id="84" name="Oval 74">
              <a:extLst>
                <a:ext uri="{FF2B5EF4-FFF2-40B4-BE49-F238E27FC236}">
                  <a16:creationId xmlns:a16="http://schemas.microsoft.com/office/drawing/2014/main" id="{0B6803A5-D850-B347-90BD-60C4C34FEBCD}"/>
                </a:ext>
              </a:extLst>
            </p:cNvPr>
            <p:cNvSpPr/>
            <p:nvPr/>
          </p:nvSpPr>
          <p:spPr bwMode="gray">
            <a:xfrm>
              <a:off x="5673653" y="3992579"/>
              <a:ext cx="788946" cy="782981"/>
            </a:xfrm>
            <a:prstGeom prst="ellips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FBDD7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85" name="Freeform: Shape 87">
              <a:extLst>
                <a:ext uri="{FF2B5EF4-FFF2-40B4-BE49-F238E27FC236}">
                  <a16:creationId xmlns:a16="http://schemas.microsoft.com/office/drawing/2014/main" id="{209A1406-D916-0448-A4D2-1348EAC824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0958" y="4038510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86" name="Marvintrackercircle">
              <a:extLst>
                <a:ext uri="{FF2B5EF4-FFF2-40B4-BE49-F238E27FC236}">
                  <a16:creationId xmlns:a16="http://schemas.microsoft.com/office/drawing/2014/main" id="{49AB838E-E99C-1943-8FED-54506B80312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gray">
            <a:xfrm>
              <a:off x="5763824" y="4082070"/>
              <a:ext cx="608601" cy="603998"/>
            </a:xfrm>
            <a:prstGeom prst="ellips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70CE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87" name="Скругленный прямоугольник 86"/>
          <p:cNvSpPr/>
          <p:nvPr/>
        </p:nvSpPr>
        <p:spPr>
          <a:xfrm>
            <a:off x="214021" y="4187656"/>
            <a:ext cx="2065650" cy="43307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FDE8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125736" y="4165879"/>
            <a:ext cx="22460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ts val="1900"/>
            </a:pPr>
            <a:r>
              <a:rPr lang="ru-RU" sz="1200" b="1" dirty="0" smtClean="0">
                <a:latin typeface="Arial" panose="020B0604020202020204" pitchFamily="34" charset="0"/>
                <a:ea typeface="Trebuchet MS"/>
                <a:sym typeface="Trebuchet MS"/>
              </a:rPr>
              <a:t>Әлемдік тауар нарықтарындағы үрдістер</a:t>
            </a:r>
            <a:endParaRPr lang="ru-RU" sz="1200" b="1" dirty="0">
              <a:latin typeface="Arial" panose="020B0604020202020204" pitchFamily="34" charset="0"/>
              <a:ea typeface="Trebuchet MS"/>
              <a:sym typeface="Trebuchet MS"/>
            </a:endParaRPr>
          </a:p>
        </p:txBody>
      </p:sp>
      <p:pic>
        <p:nvPicPr>
          <p:cNvPr id="90" name="Рисунок 89">
            <a:extLst>
              <a:ext uri="{FF2B5EF4-FFF2-40B4-BE49-F238E27FC236}">
                <a16:creationId xmlns:a16="http://schemas.microsoft.com/office/drawing/2014/main" id="{050A2E27-0DE0-4F34-A651-89FD9161B5C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226" y="3582394"/>
            <a:ext cx="360000" cy="360000"/>
          </a:xfrm>
          <a:prstGeom prst="rect">
            <a:avLst/>
          </a:prstGeom>
        </p:spPr>
      </p:pic>
      <p:sp>
        <p:nvSpPr>
          <p:cNvPr id="124" name="Прямоугольник 123">
            <a:extLst>
              <a:ext uri="{FF2B5EF4-FFF2-40B4-BE49-F238E27FC236}">
                <a16:creationId xmlns:a16="http://schemas.microsoft.com/office/drawing/2014/main" id="{9F6C051B-1C31-44F3-AA68-531E493DBC0C}"/>
              </a:ext>
            </a:extLst>
          </p:cNvPr>
          <p:cNvSpPr/>
          <p:nvPr/>
        </p:nvSpPr>
        <p:spPr>
          <a:xfrm>
            <a:off x="2302766" y="4066791"/>
            <a:ext cx="20320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,3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р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D04152EA-0FEA-4A55-ABA7-2951B98B8A84}"/>
              </a:ext>
            </a:extLst>
          </p:cNvPr>
          <p:cNvSpPr txBox="1"/>
          <p:nvPr/>
        </p:nvSpPr>
        <p:spPr>
          <a:xfrm>
            <a:off x="2395091" y="3474584"/>
            <a:ext cx="1790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Б деректеріне сәйкес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Rectangle 17">
            <a:extLst>
              <a:ext uri="{FF2B5EF4-FFF2-40B4-BE49-F238E27FC236}">
                <a16:creationId xmlns:a16="http://schemas.microsoft.com/office/drawing/2014/main" id="{829F13C7-71AB-4483-A90F-9F2F30CD9668}"/>
              </a:ext>
            </a:extLst>
          </p:cNvPr>
          <p:cNvSpPr/>
          <p:nvPr/>
        </p:nvSpPr>
        <p:spPr>
          <a:xfrm>
            <a:off x="4960689" y="3478506"/>
            <a:ext cx="356178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ҚҰ консенсус-</a:t>
            </a:r>
            <a:r>
              <a:rPr lang="ru-RU" sz="11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ы</a:t>
            </a:r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8" name="Группа 127"/>
          <p:cNvGrpSpPr/>
          <p:nvPr/>
        </p:nvGrpSpPr>
        <p:grpSpPr>
          <a:xfrm>
            <a:off x="4273076" y="3903247"/>
            <a:ext cx="1874665" cy="754892"/>
            <a:chOff x="2513136" y="3799214"/>
            <a:chExt cx="2254144" cy="754892"/>
          </a:xfrm>
        </p:grpSpPr>
        <p:sp>
          <p:nvSpPr>
            <p:cNvPr id="132" name="Прямоугольник 29">
              <a:extLst>
                <a:ext uri="{FF2B5EF4-FFF2-40B4-BE49-F238E27FC236}">
                  <a16:creationId xmlns:a16="http://schemas.microsoft.com/office/drawing/2014/main" id="{9F6C051B-1C31-44F3-AA68-531E493DBC0C}"/>
                </a:ext>
              </a:extLst>
            </p:cNvPr>
            <p:cNvSpPr/>
            <p:nvPr/>
          </p:nvSpPr>
          <p:spPr>
            <a:xfrm>
              <a:off x="2513136" y="3969331"/>
              <a:ext cx="225414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6,0</a:t>
              </a:r>
              <a:r>
                <a:rPr lang="ru-RU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р.</a:t>
              </a:r>
              <a:r>
                <a:rPr lang="en-US" sz="6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sz="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2991043" y="3799214"/>
              <a:ext cx="89872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1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5" name="Группа 134"/>
          <p:cNvGrpSpPr/>
          <p:nvPr/>
        </p:nvGrpSpPr>
        <p:grpSpPr>
          <a:xfrm>
            <a:off x="7307010" y="3898410"/>
            <a:ext cx="1874665" cy="742176"/>
            <a:chOff x="2513136" y="3811930"/>
            <a:chExt cx="2254144" cy="742176"/>
          </a:xfrm>
        </p:grpSpPr>
        <p:sp>
          <p:nvSpPr>
            <p:cNvPr id="136" name="Прямоугольник 29">
              <a:extLst>
                <a:ext uri="{FF2B5EF4-FFF2-40B4-BE49-F238E27FC236}">
                  <a16:creationId xmlns:a16="http://schemas.microsoft.com/office/drawing/2014/main" id="{9F6C051B-1C31-44F3-AA68-531E493DBC0C}"/>
                </a:ext>
              </a:extLst>
            </p:cNvPr>
            <p:cNvSpPr/>
            <p:nvPr/>
          </p:nvSpPr>
          <p:spPr>
            <a:xfrm>
              <a:off x="2513136" y="3969331"/>
              <a:ext cx="225414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8</a:t>
              </a:r>
              <a:r>
                <a:rPr lang="ru-RU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р.</a:t>
              </a:r>
              <a:r>
                <a:rPr lang="en-US" sz="6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sz="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2988886" y="3811930"/>
              <a:ext cx="89872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3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8" name="Полилиния 137"/>
          <p:cNvSpPr/>
          <p:nvPr/>
        </p:nvSpPr>
        <p:spPr>
          <a:xfrm>
            <a:off x="2509161" y="596072"/>
            <a:ext cx="6121367" cy="1234102"/>
          </a:xfrm>
          <a:custGeom>
            <a:avLst/>
            <a:gdLst>
              <a:gd name="connsiteX0" fmla="*/ 0 w 7246137"/>
              <a:gd name="connsiteY0" fmla="*/ 0 h 776704"/>
              <a:gd name="connsiteX1" fmla="*/ 7246137 w 7246137"/>
              <a:gd name="connsiteY1" fmla="*/ 0 h 776704"/>
              <a:gd name="connsiteX2" fmla="*/ 7246137 w 7246137"/>
              <a:gd name="connsiteY2" fmla="*/ 776704 h 776704"/>
              <a:gd name="connsiteX3" fmla="*/ 0 w 7246137"/>
              <a:gd name="connsiteY3" fmla="*/ 776704 h 776704"/>
              <a:gd name="connsiteX4" fmla="*/ 0 w 7246137"/>
              <a:gd name="connsiteY4" fmla="*/ 0 h 776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6137" h="776704">
                <a:moveTo>
                  <a:pt x="0" y="0"/>
                </a:moveTo>
                <a:lnTo>
                  <a:pt x="7246137" y="0"/>
                </a:lnTo>
                <a:lnTo>
                  <a:pt x="7246137" y="776704"/>
                </a:lnTo>
                <a:lnTo>
                  <a:pt x="0" y="77670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8100" tIns="38100" rIns="38100" bIns="38100" numCol="1" spcCol="1270" anchor="t" anchorCtr="0">
            <a:noAutofit/>
          </a:bodyPr>
          <a:lstStyle/>
          <a:p>
            <a:pPr algn="ctr">
              <a:lnSpc>
                <a:spcPct val="150000"/>
              </a:lnSpc>
              <a:spcAft>
                <a:spcPts val="0"/>
              </a:spcAft>
              <a:tabLst>
                <a:tab pos="268288" algn="l"/>
              </a:tabLst>
            </a:pPr>
            <a:r>
              <a:rPr lang="kk-KZ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 өсу қарқыны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30000"/>
              </a:lnSpc>
              <a:spcAft>
                <a:spcPts val="0"/>
              </a:spcAft>
              <a:tabLst>
                <a:tab pos="268288" algn="l"/>
              </a:tabLst>
            </a:pPr>
            <a:endParaRPr lang="ru-RU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9" name="Straight Connector 94">
            <a:extLst>
              <a:ext uri="{FF2B5EF4-FFF2-40B4-BE49-F238E27FC236}">
                <a16:creationId xmlns:a16="http://schemas.microsoft.com/office/drawing/2014/main" id="{0B16E95F-10AC-4FA1-8471-AF7DA8BA7C96}"/>
              </a:ext>
            </a:extLst>
          </p:cNvPr>
          <p:cNvCxnSpPr>
            <a:cxnSpLocks/>
          </p:cNvCxnSpPr>
          <p:nvPr/>
        </p:nvCxnSpPr>
        <p:spPr>
          <a:xfrm flipH="1">
            <a:off x="4170980" y="3571301"/>
            <a:ext cx="3736" cy="972183"/>
          </a:xfrm>
          <a:prstGeom prst="line">
            <a:avLst/>
          </a:prstGeom>
          <a:ln w="952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D04152EA-0FEA-4A55-ABA7-2951B98B8A84}"/>
              </a:ext>
            </a:extLst>
          </p:cNvPr>
          <p:cNvSpPr txBox="1"/>
          <p:nvPr/>
        </p:nvSpPr>
        <p:spPr>
          <a:xfrm>
            <a:off x="2802661" y="3873275"/>
            <a:ext cx="7474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2020 ж.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4" name="Группа 163"/>
          <p:cNvGrpSpPr/>
          <p:nvPr/>
        </p:nvGrpSpPr>
        <p:grpSpPr>
          <a:xfrm>
            <a:off x="2750753" y="2465005"/>
            <a:ext cx="1070949" cy="800164"/>
            <a:chOff x="3117799" y="2673990"/>
            <a:chExt cx="1070949" cy="800164"/>
          </a:xfrm>
        </p:grpSpPr>
        <p:sp>
          <p:nvSpPr>
            <p:cNvPr id="108" name="TextBox 107"/>
            <p:cNvSpPr txBox="1"/>
            <p:nvPr/>
          </p:nvSpPr>
          <p:spPr>
            <a:xfrm>
              <a:off x="3308379" y="2889379"/>
              <a:ext cx="88036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3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,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2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%</a:t>
              </a:r>
              <a:endParaRPr lang="ru-RU" sz="3200" b="1" dirty="0">
                <a:solidFill>
                  <a:srgbClr val="00206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46" name="Стрелка вниз 145"/>
            <p:cNvSpPr/>
            <p:nvPr/>
          </p:nvSpPr>
          <p:spPr>
            <a:xfrm>
              <a:off x="3117799" y="3038413"/>
              <a:ext cx="222769" cy="332349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3365814" y="2673990"/>
              <a:ext cx="7474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0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53" name="Straight Connector 94">
            <a:extLst>
              <a:ext uri="{FF2B5EF4-FFF2-40B4-BE49-F238E27FC236}">
                <a16:creationId xmlns:a16="http://schemas.microsoft.com/office/drawing/2014/main" id="{0B16E95F-10AC-4FA1-8471-AF7DA8BA7C96}"/>
              </a:ext>
            </a:extLst>
          </p:cNvPr>
          <p:cNvCxnSpPr>
            <a:cxnSpLocks/>
          </p:cNvCxnSpPr>
          <p:nvPr/>
        </p:nvCxnSpPr>
        <p:spPr>
          <a:xfrm>
            <a:off x="4336522" y="2404357"/>
            <a:ext cx="4392000" cy="2829"/>
          </a:xfrm>
          <a:prstGeom prst="line">
            <a:avLst/>
          </a:prstGeom>
          <a:ln w="1905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3" name="Группа 162"/>
          <p:cNvGrpSpPr/>
          <p:nvPr/>
        </p:nvGrpSpPr>
        <p:grpSpPr>
          <a:xfrm>
            <a:off x="4371414" y="2503650"/>
            <a:ext cx="1082067" cy="768594"/>
            <a:chOff x="5348263" y="2727855"/>
            <a:chExt cx="1082067" cy="768594"/>
          </a:xfrm>
        </p:grpSpPr>
        <p:sp>
          <p:nvSpPr>
            <p:cNvPr id="111" name="TextBox 110"/>
            <p:cNvSpPr txBox="1"/>
            <p:nvPr/>
          </p:nvSpPr>
          <p:spPr>
            <a:xfrm>
              <a:off x="5549961" y="2911674"/>
              <a:ext cx="88036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6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,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0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%</a:t>
              </a:r>
              <a:endParaRPr lang="ru-RU" sz="3200" b="1" dirty="0">
                <a:solidFill>
                  <a:srgbClr val="00206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5640103" y="2727855"/>
              <a:ext cx="7474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1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Стрелка вниз 155"/>
            <p:cNvSpPr/>
            <p:nvPr/>
          </p:nvSpPr>
          <p:spPr>
            <a:xfrm rot="10800000">
              <a:off x="5348263" y="3058714"/>
              <a:ext cx="222769" cy="332349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65" name="Группа 164"/>
          <p:cNvGrpSpPr/>
          <p:nvPr/>
        </p:nvGrpSpPr>
        <p:grpSpPr>
          <a:xfrm>
            <a:off x="6011406" y="2497113"/>
            <a:ext cx="1094969" cy="775131"/>
            <a:chOff x="7334015" y="2721318"/>
            <a:chExt cx="1094969" cy="775131"/>
          </a:xfrm>
        </p:grpSpPr>
        <p:sp>
          <p:nvSpPr>
            <p:cNvPr id="114" name="TextBox 113"/>
            <p:cNvSpPr txBox="1"/>
            <p:nvPr/>
          </p:nvSpPr>
          <p:spPr>
            <a:xfrm>
              <a:off x="7548615" y="2911674"/>
              <a:ext cx="88036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4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,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9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%</a:t>
              </a:r>
              <a:endParaRPr lang="ru-RU" sz="3200" b="1" dirty="0">
                <a:solidFill>
                  <a:srgbClr val="00206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7607792" y="2721318"/>
              <a:ext cx="7474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2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Стрелка вниз 156"/>
            <p:cNvSpPr/>
            <p:nvPr/>
          </p:nvSpPr>
          <p:spPr>
            <a:xfrm rot="10800000">
              <a:off x="7334015" y="3045870"/>
              <a:ext cx="222769" cy="332349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8" name="Rectangle 17">
            <a:extLst>
              <a:ext uri="{FF2B5EF4-FFF2-40B4-BE49-F238E27FC236}">
                <a16:creationId xmlns:a16="http://schemas.microsoft.com/office/drawing/2014/main" id="{829F13C7-71AB-4483-A90F-9F2F30CD9668}"/>
              </a:ext>
            </a:extLst>
          </p:cNvPr>
          <p:cNvSpPr/>
          <p:nvPr/>
        </p:nvSpPr>
        <p:spPr>
          <a:xfrm>
            <a:off x="4948652" y="2112262"/>
            <a:ext cx="356178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7" name="Straight Connector 94">
            <a:extLst>
              <a:ext uri="{FF2B5EF4-FFF2-40B4-BE49-F238E27FC236}">
                <a16:creationId xmlns:a16="http://schemas.microsoft.com/office/drawing/2014/main" id="{0B16E95F-10AC-4FA1-8471-AF7DA8BA7C96}"/>
              </a:ext>
            </a:extLst>
          </p:cNvPr>
          <p:cNvCxnSpPr>
            <a:cxnSpLocks/>
          </p:cNvCxnSpPr>
          <p:nvPr/>
        </p:nvCxnSpPr>
        <p:spPr>
          <a:xfrm flipH="1">
            <a:off x="4178027" y="2196740"/>
            <a:ext cx="3736" cy="972183"/>
          </a:xfrm>
          <a:prstGeom prst="line">
            <a:avLst/>
          </a:prstGeom>
          <a:ln w="952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94">
            <a:extLst>
              <a:ext uri="{FF2B5EF4-FFF2-40B4-BE49-F238E27FC236}">
                <a16:creationId xmlns:a16="http://schemas.microsoft.com/office/drawing/2014/main" id="{0B16E95F-10AC-4FA1-8471-AF7DA8BA7C96}"/>
              </a:ext>
            </a:extLst>
          </p:cNvPr>
          <p:cNvCxnSpPr>
            <a:cxnSpLocks/>
          </p:cNvCxnSpPr>
          <p:nvPr/>
        </p:nvCxnSpPr>
        <p:spPr>
          <a:xfrm>
            <a:off x="2460080" y="2400639"/>
            <a:ext cx="1584000" cy="2829"/>
          </a:xfrm>
          <a:prstGeom prst="line">
            <a:avLst/>
          </a:prstGeom>
          <a:ln w="1905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7">
            <a:extLst>
              <a:ext uri="{FF2B5EF4-FFF2-40B4-BE49-F238E27FC236}">
                <a16:creationId xmlns:a16="http://schemas.microsoft.com/office/drawing/2014/main" id="{829F13C7-71AB-4483-A90F-9F2F30CD9668}"/>
              </a:ext>
            </a:extLst>
          </p:cNvPr>
          <p:cNvSpPr/>
          <p:nvPr/>
        </p:nvSpPr>
        <p:spPr>
          <a:xfrm>
            <a:off x="2747944" y="2104299"/>
            <a:ext cx="9853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</a:t>
            </a:r>
            <a:endPara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1" name="Straight Connector 94">
            <a:extLst>
              <a:ext uri="{FF2B5EF4-FFF2-40B4-BE49-F238E27FC236}">
                <a16:creationId xmlns:a16="http://schemas.microsoft.com/office/drawing/2014/main" id="{0B16E95F-10AC-4FA1-8471-AF7DA8BA7C96}"/>
              </a:ext>
            </a:extLst>
          </p:cNvPr>
          <p:cNvCxnSpPr>
            <a:cxnSpLocks/>
          </p:cNvCxnSpPr>
          <p:nvPr/>
        </p:nvCxnSpPr>
        <p:spPr>
          <a:xfrm>
            <a:off x="2451411" y="3795535"/>
            <a:ext cx="1584000" cy="2829"/>
          </a:xfrm>
          <a:prstGeom prst="line">
            <a:avLst/>
          </a:prstGeom>
          <a:ln w="1905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Группа 91"/>
          <p:cNvGrpSpPr/>
          <p:nvPr/>
        </p:nvGrpSpPr>
        <p:grpSpPr>
          <a:xfrm>
            <a:off x="7421085" y="2497113"/>
            <a:ext cx="1094969" cy="775131"/>
            <a:chOff x="7334015" y="2721318"/>
            <a:chExt cx="1094969" cy="775131"/>
          </a:xfrm>
        </p:grpSpPr>
        <p:sp>
          <p:nvSpPr>
            <p:cNvPr id="93" name="TextBox 92"/>
            <p:cNvSpPr txBox="1"/>
            <p:nvPr/>
          </p:nvSpPr>
          <p:spPr>
            <a:xfrm>
              <a:off x="7548615" y="2911674"/>
              <a:ext cx="88036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3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,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5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%</a:t>
              </a:r>
              <a:endParaRPr lang="ru-RU" sz="3200" b="1" dirty="0">
                <a:solidFill>
                  <a:srgbClr val="00206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7607792" y="2721318"/>
              <a:ext cx="7474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3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Стрелка вниз 94"/>
            <p:cNvSpPr/>
            <p:nvPr/>
          </p:nvSpPr>
          <p:spPr>
            <a:xfrm rot="10800000">
              <a:off x="7334015" y="3045870"/>
              <a:ext cx="222769" cy="332349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8357402" y="2986212"/>
            <a:ext cx="38824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ts val="1900"/>
            </a:pPr>
            <a:r>
              <a:rPr lang="ru-RU" sz="800" dirty="0" smtClean="0">
                <a:solidFill>
                  <a:schemeClr val="accent1"/>
                </a:solidFill>
                <a:latin typeface="Arial" panose="020B0604020202020204" pitchFamily="34" charset="0"/>
                <a:ea typeface="Trebuchet MS"/>
                <a:sym typeface="Trebuchet MS"/>
              </a:rPr>
              <a:t>(ДБ)</a:t>
            </a:r>
            <a:endParaRPr lang="ru-RU" sz="800" dirty="0">
              <a:solidFill>
                <a:schemeClr val="accent1"/>
              </a:solidFill>
              <a:latin typeface="Arial" panose="020B0604020202020204" pitchFamily="34" charset="0"/>
              <a:ea typeface="Trebuchet MS"/>
              <a:sym typeface="Trebuchet MS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5299496" y="2974700"/>
            <a:ext cx="4491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ts val="1900"/>
            </a:pPr>
            <a:r>
              <a:rPr lang="ru-RU" sz="800" dirty="0" smtClean="0">
                <a:solidFill>
                  <a:schemeClr val="accent1"/>
                </a:solidFill>
                <a:latin typeface="Arial" panose="020B0604020202020204" pitchFamily="34" charset="0"/>
                <a:ea typeface="Trebuchet MS"/>
                <a:sym typeface="Trebuchet MS"/>
              </a:rPr>
              <a:t>(ХВҚ)</a:t>
            </a:r>
            <a:endParaRPr lang="ru-RU" sz="800" dirty="0">
              <a:solidFill>
                <a:schemeClr val="accent1"/>
              </a:solidFill>
              <a:latin typeface="Arial" panose="020B0604020202020204" pitchFamily="34" charset="0"/>
              <a:ea typeface="Trebuchet MS"/>
              <a:sym typeface="Trebuchet MS"/>
            </a:endParaRPr>
          </a:p>
        </p:txBody>
      </p:sp>
      <p:grpSp>
        <p:nvGrpSpPr>
          <p:cNvPr id="99" name="Группа 98"/>
          <p:cNvGrpSpPr/>
          <p:nvPr/>
        </p:nvGrpSpPr>
        <p:grpSpPr>
          <a:xfrm>
            <a:off x="5874372" y="3904025"/>
            <a:ext cx="1874665" cy="749210"/>
            <a:chOff x="2513136" y="3804896"/>
            <a:chExt cx="2254144" cy="749210"/>
          </a:xfrm>
        </p:grpSpPr>
        <p:sp>
          <p:nvSpPr>
            <p:cNvPr id="100" name="Прямоугольник 29">
              <a:extLst>
                <a:ext uri="{FF2B5EF4-FFF2-40B4-BE49-F238E27FC236}">
                  <a16:creationId xmlns:a16="http://schemas.microsoft.com/office/drawing/2014/main" id="{9F6C051B-1C31-44F3-AA68-531E493DBC0C}"/>
                </a:ext>
              </a:extLst>
            </p:cNvPr>
            <p:cNvSpPr/>
            <p:nvPr/>
          </p:nvSpPr>
          <p:spPr>
            <a:xfrm>
              <a:off x="2513136" y="3969331"/>
              <a:ext cx="225414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4,5</a:t>
              </a:r>
              <a:r>
                <a:rPr lang="ru-RU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р.</a:t>
              </a:r>
              <a:r>
                <a:rPr lang="en-US" sz="6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sz="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3005803" y="3804896"/>
              <a:ext cx="89872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22 ж.</a:t>
              </a:r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02" name="Straight Connector 94">
            <a:extLst>
              <a:ext uri="{FF2B5EF4-FFF2-40B4-BE49-F238E27FC236}">
                <a16:creationId xmlns:a16="http://schemas.microsoft.com/office/drawing/2014/main" id="{0B16E95F-10AC-4FA1-8471-AF7DA8BA7C96}"/>
              </a:ext>
            </a:extLst>
          </p:cNvPr>
          <p:cNvCxnSpPr>
            <a:cxnSpLocks/>
          </p:cNvCxnSpPr>
          <p:nvPr/>
        </p:nvCxnSpPr>
        <p:spPr>
          <a:xfrm>
            <a:off x="4347278" y="3796122"/>
            <a:ext cx="4392000" cy="2829"/>
          </a:xfrm>
          <a:prstGeom prst="line">
            <a:avLst/>
          </a:prstGeom>
          <a:ln w="1905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Группа 88"/>
          <p:cNvGrpSpPr/>
          <p:nvPr/>
        </p:nvGrpSpPr>
        <p:grpSpPr>
          <a:xfrm>
            <a:off x="3880856" y="985264"/>
            <a:ext cx="1070949" cy="800164"/>
            <a:chOff x="3117799" y="2673990"/>
            <a:chExt cx="1070949" cy="800164"/>
          </a:xfrm>
        </p:grpSpPr>
        <p:sp>
          <p:nvSpPr>
            <p:cNvPr id="96" name="TextBox 95"/>
            <p:cNvSpPr txBox="1"/>
            <p:nvPr/>
          </p:nvSpPr>
          <p:spPr>
            <a:xfrm>
              <a:off x="3308379" y="2889379"/>
              <a:ext cx="88036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2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,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5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%</a:t>
              </a:r>
              <a:endParaRPr lang="ru-RU" sz="3200" b="1" dirty="0">
                <a:solidFill>
                  <a:srgbClr val="00206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3" name="Стрелка вниз 102"/>
            <p:cNvSpPr/>
            <p:nvPr/>
          </p:nvSpPr>
          <p:spPr>
            <a:xfrm>
              <a:off x="3117799" y="3038413"/>
              <a:ext cx="222769" cy="332349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3365814" y="2673990"/>
              <a:ext cx="7474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0 </a:t>
              </a:r>
              <a:r>
                <a:rPr lang="kk-KZ" sz="11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.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0" name="Группа 109"/>
          <p:cNvGrpSpPr/>
          <p:nvPr/>
        </p:nvGrpSpPr>
        <p:grpSpPr>
          <a:xfrm>
            <a:off x="5709556" y="981704"/>
            <a:ext cx="1699825" cy="803764"/>
            <a:chOff x="4944352" y="2692685"/>
            <a:chExt cx="1699825" cy="803764"/>
          </a:xfrm>
        </p:grpSpPr>
        <p:sp>
          <p:nvSpPr>
            <p:cNvPr id="112" name="TextBox 111"/>
            <p:cNvSpPr txBox="1"/>
            <p:nvPr/>
          </p:nvSpPr>
          <p:spPr>
            <a:xfrm>
              <a:off x="5549961" y="2911674"/>
              <a:ext cx="88036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2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,</a:t>
              </a:r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7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</a:rPr>
                <a:t>%</a:t>
              </a:r>
              <a:endParaRPr lang="ru-RU" sz="3200" b="1" dirty="0">
                <a:solidFill>
                  <a:srgbClr val="00206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D04152EA-0FEA-4A55-ABA7-2951B98B8A84}"/>
                </a:ext>
              </a:extLst>
            </p:cNvPr>
            <p:cNvSpPr txBox="1"/>
            <p:nvPr/>
          </p:nvSpPr>
          <p:spPr>
            <a:xfrm>
              <a:off x="4944352" y="2692685"/>
              <a:ext cx="169982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1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21 ж</a:t>
              </a:r>
              <a:r>
                <a:rPr lang="kk-KZ" sz="11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қаңтар-шілде</a:t>
              </a:r>
              <a:endPara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Стрелка вниз 114"/>
            <p:cNvSpPr/>
            <p:nvPr/>
          </p:nvSpPr>
          <p:spPr>
            <a:xfrm rot="10800000">
              <a:off x="5348263" y="3058714"/>
              <a:ext cx="222769" cy="332349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6" name="Прямоугольник 115"/>
          <p:cNvSpPr/>
          <p:nvPr/>
        </p:nvSpPr>
        <p:spPr>
          <a:xfrm>
            <a:off x="60958" y="4696094"/>
            <a:ext cx="9144000" cy="4331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199" tIns="38599" rIns="77199" bIns="38599" rtlCol="0" anchor="ctr"/>
          <a:lstStyle/>
          <a:p>
            <a:r>
              <a:rPr lang="ru-RU" sz="800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*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21 г.: ХВҚ – 64,7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,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Moody’s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– 62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АДБ – 67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ЕАДБ – 64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tch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63,0$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@P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65,0$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JP MORGAN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72,0$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NK of AMERICA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68,0$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rclays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69,0$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IA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8,8$</a:t>
            </a:r>
          </a:p>
          <a:p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22</a:t>
            </a:r>
            <a:r>
              <a:rPr lang="kk-KZ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г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: ХВҚ 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3,0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,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ДБ –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2,0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АДБ, ЕАДБ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4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ody’s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@P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0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tch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5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0$,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JP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RGAN – 72,0$, BANK of AMERICA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75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,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rclays –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, EIA –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endParaRPr lang="en-US" sz="700" i="1" cap="small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2023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.: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АДБ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2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oody’s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45,0-65,0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tch 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3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0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,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@P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5,0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$ </a:t>
            </a:r>
            <a:r>
              <a:rPr lang="ru-RU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NK </a:t>
            </a:r>
            <a:r>
              <a:rPr lang="en-US" sz="700" i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f AMERICA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5,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0$</a:t>
            </a:r>
            <a:r>
              <a:rPr lang="ru-RU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sz="700" i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700" i="1" cap="small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946465" y="2982056"/>
            <a:ext cx="44916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rgbClr val="E7E6E6"/>
              </a:buClr>
              <a:buSzPts val="1900"/>
            </a:pPr>
            <a:r>
              <a:rPr lang="ru-RU" sz="800" dirty="0" smtClean="0">
                <a:solidFill>
                  <a:schemeClr val="accent1"/>
                </a:solidFill>
                <a:latin typeface="Arial" panose="020B0604020202020204" pitchFamily="34" charset="0"/>
                <a:ea typeface="Trebuchet MS"/>
                <a:sym typeface="Trebuchet MS"/>
              </a:rPr>
              <a:t>(ХВҚ)</a:t>
            </a:r>
            <a:endParaRPr lang="ru-RU" sz="800" dirty="0">
              <a:solidFill>
                <a:schemeClr val="accent1"/>
              </a:solidFill>
              <a:latin typeface="Arial" panose="020B0604020202020204" pitchFamily="34" charset="0"/>
              <a:ea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9166543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665804"/>
              </p:ext>
            </p:extLst>
          </p:nvPr>
        </p:nvGraphicFramePr>
        <p:xfrm>
          <a:off x="241201" y="604889"/>
          <a:ext cx="8790653" cy="4396740"/>
        </p:xfrm>
        <a:graphic>
          <a:graphicData uri="http://schemas.openxmlformats.org/drawingml/2006/table">
            <a:tbl>
              <a:tblPr/>
              <a:tblGrid>
                <a:gridCol w="3217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8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8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87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87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2877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287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1420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 </a:t>
                      </a:r>
                    </a:p>
                  </a:txBody>
                  <a:tcPr marL="7252" marR="72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2021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2022</a:t>
                      </a: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2023</a:t>
                      </a: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2024</a:t>
                      </a: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2025</a:t>
                      </a: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2026</a:t>
                      </a: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9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Бағалау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latin typeface="+mj-lt"/>
                        </a:rPr>
                        <a:t>Болжам</a:t>
                      </a:r>
                      <a:endParaRPr lang="ru-RU" sz="1050" b="1" dirty="0">
                        <a:latin typeface="+mj-lt"/>
                      </a:endParaRPr>
                    </a:p>
                  </a:txBody>
                  <a:tcPr marL="5973" marR="5973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5973" marR="5973" marT="5973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</a:rPr>
                        <a:t>ЖІӨ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млрд теңге</a:t>
                      </a:r>
                      <a:endParaRPr lang="ru-RU" sz="1400" b="1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0 3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7 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076</a:t>
                      </a:r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62</a:t>
                      </a:r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16</a:t>
                      </a:r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1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29</a:t>
                      </a:r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9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56</a:t>
                      </a:r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</a:rPr>
                        <a:t>ЖІӨ нақты өсуі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</a:t>
                      </a:r>
                      <a:endParaRPr lang="ru-RU" sz="900" b="1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3760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</a:rPr>
                        <a:t>ЖІӨ дефляторы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3760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9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,5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2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2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Халықтың жан басына шаққандағы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ЖІӨ</a:t>
                      </a:r>
                      <a:r>
                        <a:rPr lang="ru-RU" sz="900" b="0" i="0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9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$</a:t>
                      </a:r>
                    </a:p>
                  </a:txBody>
                  <a:tcPr marL="7200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 95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 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8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1 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32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2 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74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 235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kk-KZ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94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 Light"/>
                        </a:rPr>
                        <a:t>Инфляция</a:t>
                      </a:r>
                      <a:r>
                        <a:rPr lang="ru-RU" sz="9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 %</a:t>
                      </a: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-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-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-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-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-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-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807">
                <a:tc>
                  <a:txBody>
                    <a:bodyPr/>
                    <a:lstStyle/>
                    <a:p>
                      <a:pPr algn="l" rtl="0" fontAlgn="ctr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Calibri Light"/>
                      </a:endParaRPr>
                    </a:p>
                  </a:txBody>
                  <a:tcPr marL="6477" marR="6477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Ауыл шаруашылығы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Өнеркәсіп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 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2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6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8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2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Тау-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кен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өндіру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 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3760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0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2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9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0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Мұнау өндіру көлемі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млн тонна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107521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6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7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9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7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Calibri Light"/>
                        </a:rPr>
                        <a:t>Brent мұнайының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Calibri Light"/>
                        </a:rPr>
                        <a:t> бағасы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баррель/$</a:t>
                      </a:r>
                      <a:endParaRPr lang="ru-RU" sz="1100" b="1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107521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Өңдеу өнеркәсібі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3760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7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Құрылыс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8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Сауда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%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6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5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6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6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6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Көлік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, </a:t>
                      </a:r>
                      <a:r>
                        <a:rPr lang="ru-RU" sz="900" b="0" i="0" u="none" strike="noStrike" dirty="0">
                          <a:solidFill>
                            <a:srgbClr val="7F7F7F"/>
                          </a:solidFill>
                          <a:effectLst/>
                          <a:latin typeface="Calibri"/>
                        </a:rPr>
                        <a:t>%</a:t>
                      </a:r>
                      <a:endParaRPr lang="ru-RU" sz="11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0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3,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4,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33236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Төлем теңгерімінің көрсеткіштері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7252" marR="7252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Тауарлар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э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кспорты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млрд $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0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0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8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Тауарлар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и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мпорты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млрд $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8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0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2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0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2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</a:t>
                      </a:r>
                      <a:r>
                        <a:rPr lang="x-non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3918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Сауда теңгерімінің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</a:rPr>
                        <a:t> сальдосы</a:t>
                      </a:r>
                      <a:r>
                        <a:rPr lang="ru-RU" sz="9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</a:rPr>
                        <a:t>, млрд $</a:t>
                      </a:r>
                      <a:endParaRPr lang="ru-RU" sz="1400" b="0" i="0" u="none" strike="noStrike" dirty="0">
                        <a:solidFill>
                          <a:srgbClr val="7F7F7F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8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9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2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6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,1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6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-7620"/>
            <a:ext cx="91440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776054">
              <a:defRPr/>
            </a:pP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 макроэкономикалық көрсеткіштер</a:t>
            </a:r>
            <a:endParaRPr lang="ru-RU" sz="2000" b="1" kern="0" cap="small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76054">
              <a:defRPr/>
            </a:pPr>
            <a:r>
              <a:rPr lang="ru-RU" b="1" kern="0" cap="small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 сценарий</a:t>
            </a:r>
            <a:endParaRPr lang="ru-RU" b="1" kern="0" cap="small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129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211616" y="735176"/>
          <a:ext cx="8552325" cy="4397186"/>
        </p:xfrm>
        <a:graphic>
          <a:graphicData uri="http://schemas.openxmlformats.org/drawingml/2006/table">
            <a:tbl>
              <a:tblPr/>
              <a:tblGrid>
                <a:gridCol w="3680939">
                  <a:extLst>
                    <a:ext uri="{9D8B030D-6E8A-4147-A177-3AD203B41FA5}">
                      <a16:colId xmlns:a16="http://schemas.microsoft.com/office/drawing/2014/main" val="1390038518"/>
                    </a:ext>
                  </a:extLst>
                </a:gridCol>
                <a:gridCol w="1190646">
                  <a:extLst>
                    <a:ext uri="{9D8B030D-6E8A-4147-A177-3AD203B41FA5}">
                      <a16:colId xmlns:a16="http://schemas.microsoft.com/office/drawing/2014/main" val="2744780222"/>
                    </a:ext>
                  </a:extLst>
                </a:gridCol>
                <a:gridCol w="1243392">
                  <a:extLst>
                    <a:ext uri="{9D8B030D-6E8A-4147-A177-3AD203B41FA5}">
                      <a16:colId xmlns:a16="http://schemas.microsoft.com/office/drawing/2014/main" val="1308766989"/>
                    </a:ext>
                  </a:extLst>
                </a:gridCol>
                <a:gridCol w="1218674">
                  <a:extLst>
                    <a:ext uri="{9D8B030D-6E8A-4147-A177-3AD203B41FA5}">
                      <a16:colId xmlns:a16="http://schemas.microsoft.com/office/drawing/2014/main" val="2038224747"/>
                    </a:ext>
                  </a:extLst>
                </a:gridCol>
                <a:gridCol w="1218674">
                  <a:extLst>
                    <a:ext uri="{9D8B030D-6E8A-4147-A177-3AD203B41FA5}">
                      <a16:colId xmlns:a16="http://schemas.microsoft.com/office/drawing/2014/main" val="390353943"/>
                    </a:ext>
                  </a:extLst>
                </a:gridCol>
              </a:tblGrid>
              <a:tr h="154597">
                <a:tc rowSpan="2">
                  <a:txBody>
                    <a:bodyPr/>
                    <a:lstStyle/>
                    <a:p>
                      <a:pPr marL="0" marR="0" lvl="0" indent="0" algn="r" defTabSz="6905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2110989546"/>
                  </a:ext>
                </a:extLst>
              </a:tr>
              <a:tr h="154597">
                <a:tc v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8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Нақтыланған</a:t>
                      </a:r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Болжам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532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Түсімдер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2 57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3 00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2 95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3 42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7235188"/>
                  </a:ext>
                </a:extLst>
              </a:tr>
              <a:tr h="149537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ЖІӨ-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е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қарағанда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6,1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4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3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3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Кірістер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(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трансферттерді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есептемегенде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 20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 20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 6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0 42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789659"/>
                  </a:ext>
                </a:extLst>
              </a:tr>
              <a:tr h="149537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Ө-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ғанда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                            9,3</a:t>
                      </a:r>
                      <a:endParaRPr lang="ru-RU" sz="105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157784"/>
                  </a:ext>
                </a:extLst>
              </a:tr>
              <a:tr h="187919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алықтық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үсімде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6 91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 9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9 4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 20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3501295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ЭКБ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93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18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3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4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285830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алықтық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емес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үсімде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87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2581143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егізгі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капитал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атылымынан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үсетін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үсімде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959461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рансферттердің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үсімдері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5 201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 6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 09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89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4620775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Ұлттық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қордан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кепілдендірілген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трансферт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700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4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2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562452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Ұлттық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қордан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нысаналы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трансферт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 850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49518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юджеттік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алып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қоюла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451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9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91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91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419015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өменгі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юджеттен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үсетін</a:t>
                      </a:r>
                      <a:r>
                        <a:rPr lang="ru-RU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u="none" strike="noStrike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рансферттер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00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0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66791736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Бюджеттік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кредиттерді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өте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69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7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0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905230"/>
                  </a:ext>
                </a:extLst>
              </a:tr>
              <a:tr h="17753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Шығыстар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5 33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5 9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5 6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6 0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3135452"/>
                  </a:ext>
                </a:extLst>
              </a:tr>
              <a:tr h="149537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Ө-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ғанда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9,7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8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5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0727870"/>
                  </a:ext>
                </a:extLst>
              </a:tr>
              <a:tr h="21755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Тапшылық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2 760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2 90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2 67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2 60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4536342"/>
                  </a:ext>
                </a:extLst>
              </a:tr>
              <a:tr h="144782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Ө-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ғанда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-3,5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3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2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2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4311717"/>
                  </a:ext>
                </a:extLst>
              </a:tr>
              <a:tr h="1729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Мұнайға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қатысты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емес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</a:rPr>
                        <a:t>тапшылық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8 244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7 0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6 5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6 4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5778182"/>
                  </a:ext>
                </a:extLst>
              </a:tr>
              <a:tr h="78770">
                <a:tc>
                  <a:txBody>
                    <a:bodyPr/>
                    <a:lstStyle/>
                    <a:p>
                      <a:pPr algn="l" fontAlgn="t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ЖІӨ-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қарағанда</a:t>
                      </a: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%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-10,6</a:t>
                      </a:r>
                    </a:p>
                  </a:txBody>
                  <a:tcPr marL="7620" marR="7200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8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6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6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723785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-7620"/>
            <a:ext cx="91440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776054">
              <a:defRPr/>
            </a:pPr>
            <a:r>
              <a:rPr lang="ru-RU" sz="2000" b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22</a:t>
            </a:r>
            <a:r>
              <a:rPr lang="kk-KZ" altLang="ru-RU" sz="2000" b="1" cap="small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ru-RU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024 </a:t>
            </a:r>
            <a:r>
              <a:rPr lang="ru-RU" sz="2000" b="1" cap="small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ылдарға</a:t>
            </a:r>
            <a:r>
              <a:rPr lang="ru-RU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cap="small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рналған</a:t>
            </a:r>
            <a:r>
              <a:rPr lang="ru-RU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cap="small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алық</a:t>
            </a:r>
            <a:r>
              <a:rPr lang="ru-RU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cap="small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юджеттің</a:t>
            </a:r>
            <a:r>
              <a:rPr lang="ru-RU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cap="small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жамы</a:t>
            </a:r>
            <a:r>
              <a:rPr lang="ru-RU" sz="2000" b="1" cap="sm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000" b="1" cap="small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 defTabSz="776054">
              <a:defRPr/>
            </a:pPr>
            <a:r>
              <a:rPr lang="ru-RU" b="1" kern="0" cap="small" dirty="0" err="1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</a:t>
            </a:r>
            <a:r>
              <a:rPr lang="ru-RU" b="1" kern="0" cap="small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ценарий </a:t>
            </a:r>
            <a:endParaRPr lang="ru-RU" sz="1400" b="1" i="1" kern="0" cap="small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077868" y="515057"/>
            <a:ext cx="7922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000" dirty="0" smtClean="0">
                <a:solidFill>
                  <a:prstClr val="black"/>
                </a:solidFill>
                <a:latin typeface="Calibri Light"/>
                <a:cs typeface="Arial" pitchFamily="34" charset="0"/>
              </a:rPr>
              <a:t>млрд теңг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2499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264862" y="810231"/>
          <a:ext cx="8689951" cy="4206644"/>
        </p:xfrm>
        <a:graphic>
          <a:graphicData uri="http://schemas.openxmlformats.org/drawingml/2006/table">
            <a:tbl>
              <a:tblPr/>
              <a:tblGrid>
                <a:gridCol w="4070483">
                  <a:extLst>
                    <a:ext uri="{9D8B030D-6E8A-4147-A177-3AD203B41FA5}">
                      <a16:colId xmlns:a16="http://schemas.microsoft.com/office/drawing/2014/main" val="1390038518"/>
                    </a:ext>
                  </a:extLst>
                </a:gridCol>
                <a:gridCol w="1154867">
                  <a:extLst>
                    <a:ext uri="{9D8B030D-6E8A-4147-A177-3AD203B41FA5}">
                      <a16:colId xmlns:a16="http://schemas.microsoft.com/office/drawing/2014/main" val="2744780222"/>
                    </a:ext>
                  </a:extLst>
                </a:gridCol>
                <a:gridCol w="1154867">
                  <a:extLst>
                    <a:ext uri="{9D8B030D-6E8A-4147-A177-3AD203B41FA5}">
                      <a16:colId xmlns:a16="http://schemas.microsoft.com/office/drawing/2014/main" val="1308766989"/>
                    </a:ext>
                  </a:extLst>
                </a:gridCol>
                <a:gridCol w="1154867">
                  <a:extLst>
                    <a:ext uri="{9D8B030D-6E8A-4147-A177-3AD203B41FA5}">
                      <a16:colId xmlns:a16="http://schemas.microsoft.com/office/drawing/2014/main" val="2038224747"/>
                    </a:ext>
                  </a:extLst>
                </a:gridCol>
                <a:gridCol w="1154867">
                  <a:extLst>
                    <a:ext uri="{9D8B030D-6E8A-4147-A177-3AD203B41FA5}">
                      <a16:colId xmlns:a16="http://schemas.microsoft.com/office/drawing/2014/main" val="390353943"/>
                    </a:ext>
                  </a:extLst>
                </a:gridCol>
              </a:tblGrid>
              <a:tr h="199653">
                <a:tc rowSpan="2">
                  <a:txBody>
                    <a:bodyPr/>
                    <a:lstStyle/>
                    <a:p>
                      <a:pPr marL="0" marR="0" indent="0" algn="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  <a:endParaRPr lang="ru-RU" sz="1200" b="0" dirty="0">
                        <a:solidFill>
                          <a:prstClr val="black"/>
                        </a:solidFill>
                        <a:latin typeface="+mj-lt"/>
                        <a:cs typeface="Arial" pitchFamily="34" charset="0"/>
                      </a:endParaRPr>
                    </a:p>
                  </a:txBody>
                  <a:tcPr marL="0" marR="72000" marT="0" marB="36000" anchor="b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687537" rtl="0" eaLnBrk="1" fontAlgn="ctr" latinLnBrk="0" hangingPunct="1"/>
                      <a:r>
                        <a:rPr lang="ru-RU" sz="105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2110989546"/>
                  </a:ext>
                </a:extLst>
              </a:tr>
              <a:tr h="166004">
                <a:tc v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38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7537" rtl="0" eaLnBrk="1" fontAlgn="ctr" latinLnBrk="0" hangingPunct="1"/>
                      <a:r>
                        <a:rPr lang="ru-RU" sz="105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Бағалау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 gridSpan="3">
                  <a:txBody>
                    <a:bodyPr/>
                    <a:lstStyle/>
                    <a:p>
                      <a:pPr marL="0" algn="ctr" defTabSz="687537" rtl="0" eaLnBrk="1" fontAlgn="ctr" latinLnBrk="0" hangingPunct="1"/>
                      <a:r>
                        <a:rPr lang="ru-RU" sz="105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Болжам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BDD76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Түсімдер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-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Барлығ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sz="1200" b="1" i="0" u="none" strike="noStrike" kern="120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45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03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49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50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7235188"/>
                  </a:ext>
                </a:extLst>
              </a:tr>
              <a:tr h="442677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Тікелей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салықтар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және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басқа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мұнай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секторы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ұйымдарынан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түсетін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түсімде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73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2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7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037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marL="108000" algn="l" fontAlgn="t"/>
                      <a:r>
                        <a:rPr lang="kk-KZ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жекешелендіруден</a:t>
                      </a:r>
                      <a:r>
                        <a:rPr lang="kk-KZ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 түсетін түсімдер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1789659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Қорды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басқарудан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алынатын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инвестициялық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itchFamily="34" charset="0"/>
                        </a:rPr>
                        <a:t>кірістер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924</a:t>
                      </a: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3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69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9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157784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Пайдалану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-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Барлығы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5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9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6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0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3501295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РБ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кепілдендірілген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трансфер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 700</a:t>
                      </a: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285830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РБ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нысаналы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трансфер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 850</a:t>
                      </a: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2581143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marL="108000" algn="l" fontAlgn="t"/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Қорды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басқаруға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байланысты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шығыста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8</a:t>
                      </a: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8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959461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Қорға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түсетін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таза </a:t>
                      </a:r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түсімдер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-1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914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445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41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41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4620775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algn="l" fontAlgn="t"/>
                      <a:r>
                        <a:rPr lang="kk-KZ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Жылдың соңындағы Қордың қаражаты (барлығы)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6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87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7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032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200" b="1" i="0" u="none" strike="noStrike" kern="120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 173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9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715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3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562452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ЖІӨ-</a:t>
                      </a:r>
                      <a:r>
                        <a:rPr lang="ru-RU" sz="14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ге</a:t>
                      </a:r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0" i="1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қарағанда</a:t>
                      </a:r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%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1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33,</a:t>
                      </a:r>
                      <a:r>
                        <a:rPr lang="en-US" sz="1200" b="0" i="1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endParaRPr lang="ru-RU" sz="1200" b="0" i="1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0" i="1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1,</a:t>
                      </a:r>
                      <a:r>
                        <a:rPr lang="en-US" sz="1200" b="0" i="1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0</a:t>
                      </a:r>
                      <a:endParaRPr lang="ru-RU" sz="1200" b="0" i="1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1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9,7</a:t>
                      </a:r>
                      <a:endParaRPr lang="ru-RU" sz="1200" b="0" i="1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1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8,9</a:t>
                      </a:r>
                      <a:endParaRPr lang="ru-RU" sz="1200" b="0" i="1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715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Қордың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baseline="0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валюталық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baseline="0" dirty="0" err="1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активтері</a:t>
                      </a:r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,  </a:t>
                      </a:r>
                      <a:r>
                        <a:rPr lang="ru-RU" sz="900" b="0" i="0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млрд </a:t>
                      </a:r>
                      <a:r>
                        <a:rPr lang="en-US" sz="9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$</a:t>
                      </a:r>
                      <a:endParaRPr lang="ru-RU" sz="900" b="0" i="0" u="none" strike="noStrike" kern="1200" dirty="0">
                        <a:solidFill>
                          <a:srgbClr val="7F7F7F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4,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2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7620" marR="7200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3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0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Calibri Light"/>
                          <a:ea typeface="+mn-ea"/>
                          <a:cs typeface="+mn-cs"/>
                        </a:rPr>
                        <a:t>6</a:t>
                      </a:r>
                      <a:endParaRPr lang="ru-RU" sz="12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 Ligh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F3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6791736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-58967"/>
            <a:ext cx="914400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6054">
              <a:defRPr/>
            </a:pPr>
            <a:r>
              <a:rPr lang="ru-RU" sz="2000" b="1" kern="0" cap="sm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en-US" sz="2000" b="1" kern="0" cap="sm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kk-KZ" altLang="ru-RU" sz="2000" b="1" kern="0" cap="sm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2000" b="1" kern="0" cap="sm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en-US" sz="2000" b="1" kern="0" cap="sm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2000" b="1" kern="0" cap="small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cap="small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ға</a:t>
            </a: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cap="small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cap="small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cap="small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cap="small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метрлерінің</a:t>
            </a: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kern="0" cap="small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ы</a:t>
            </a:r>
            <a:r>
              <a:rPr lang="ru-RU" sz="2000" b="1" kern="0" cap="small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kern="0" cap="small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76054">
              <a:defRPr/>
            </a:pPr>
            <a:r>
              <a:rPr lang="ru-RU" b="1" kern="0" cap="small" dirty="0" err="1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</a:t>
            </a:r>
            <a:r>
              <a:rPr lang="ru-RU" b="1" kern="0" cap="small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ценарий</a:t>
            </a:r>
            <a:r>
              <a:rPr lang="en-US" b="1" kern="0" cap="small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cap="small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b="1" i="1" kern="0" cap="small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US" sz="1400" b="1" i="1" kern="0" cap="small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/425</a:t>
            </a:r>
            <a:r>
              <a:rPr lang="ru-RU" sz="1400" b="1" i="1" kern="0" cap="small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400" b="1" i="1" kern="0" cap="small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077868" y="577786"/>
            <a:ext cx="7922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000" dirty="0" smtClean="0">
                <a:solidFill>
                  <a:prstClr val="black"/>
                </a:solidFill>
                <a:latin typeface="Calibri Light"/>
                <a:cs typeface="Arial" pitchFamily="34" charset="0"/>
              </a:rPr>
              <a:t>млрд теңг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765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24299" y="2339603"/>
            <a:ext cx="54684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2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АРЛАРЫҢЫЗҒА РАҚМЕТ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478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aseform_MSW_4x3.potx" id="{C56514F7-67AD-450E-B572-0C50D0AF1509}" vid="{7CC19030-A8AE-402F-9023-FE9C893D7F2D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9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4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6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998</TotalTime>
  <Words>909</Words>
  <Application>Microsoft Office PowerPoint</Application>
  <PresentationFormat>Экран (16:9)</PresentationFormat>
  <Paragraphs>355</Paragraphs>
  <Slides>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28" baseType="lpstr">
      <vt:lpstr>ＭＳ Ｐゴシック</vt:lpstr>
      <vt:lpstr>Arial</vt:lpstr>
      <vt:lpstr>Calibri</vt:lpstr>
      <vt:lpstr>Calibri Light</vt:lpstr>
      <vt:lpstr>Georgia</vt:lpstr>
      <vt:lpstr>Lato Heavy</vt:lpstr>
      <vt:lpstr>Segoe UI</vt:lpstr>
      <vt:lpstr>Segoe UI Black</vt:lpstr>
      <vt:lpstr>Segoe UI Light</vt:lpstr>
      <vt:lpstr>Trebuchet MS</vt:lpstr>
      <vt:lpstr>1_2. Дополнительные</vt:lpstr>
      <vt:lpstr>2_2. Дополнительные</vt:lpstr>
      <vt:lpstr>3_2. Дополнительные</vt:lpstr>
      <vt:lpstr>8_2. Дополнительные</vt:lpstr>
      <vt:lpstr>9_2. Дополнительные</vt:lpstr>
      <vt:lpstr>14_2. Дополнительные</vt:lpstr>
      <vt:lpstr>4_2. Дополнительные</vt:lpstr>
      <vt:lpstr>16_2. Дополнительные</vt:lpstr>
      <vt:lpstr>1_СЛАЙДЫ</vt:lpstr>
      <vt:lpstr>Заседание Правительства</vt:lpstr>
      <vt:lpstr>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Дана Мамбаева</cp:lastModifiedBy>
  <cp:revision>5113</cp:revision>
  <cp:lastPrinted>2021-08-20T12:44:42Z</cp:lastPrinted>
  <dcterms:created xsi:type="dcterms:W3CDTF">2017-09-18T08:04:07Z</dcterms:created>
  <dcterms:modified xsi:type="dcterms:W3CDTF">2021-09-08T13:14:27Z</dcterms:modified>
</cp:coreProperties>
</file>